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7"/>
  </p:notesMasterIdLst>
  <p:sldIdLst>
    <p:sldId id="298" r:id="rId2"/>
    <p:sldId id="314" r:id="rId3"/>
    <p:sldId id="315" r:id="rId4"/>
    <p:sldId id="311" r:id="rId5"/>
    <p:sldId id="274" r:id="rId6"/>
  </p:sldIdLst>
  <p:sldSz cx="15532100" cy="8750300"/>
  <p:notesSz cx="9940925" cy="6808788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6" userDrawn="1">
          <p15:clr>
            <a:srgbClr val="A4A3A4"/>
          </p15:clr>
        </p15:guide>
        <p15:guide id="2" pos="469" userDrawn="1">
          <p15:clr>
            <a:srgbClr val="A4A3A4"/>
          </p15:clr>
        </p15:guide>
        <p15:guide id="3" orient="horz" pos="4661" userDrawn="1">
          <p15:clr>
            <a:srgbClr val="A4A3A4"/>
          </p15:clr>
        </p15:guide>
        <p15:guide id="4" orient="horz" pos="5410" userDrawn="1">
          <p15:clr>
            <a:srgbClr val="A4A3A4"/>
          </p15:clr>
        </p15:guide>
        <p15:guide id="5" orient="horz" pos="397" userDrawn="1">
          <p15:clr>
            <a:srgbClr val="A4A3A4"/>
          </p15:clr>
        </p15:guide>
        <p15:guide id="7" pos="4892" userDrawn="1">
          <p15:clr>
            <a:srgbClr val="A4A3A4"/>
          </p15:clr>
        </p15:guide>
        <p15:guide id="8" orient="horz" pos="715" userDrawn="1">
          <p15:clr>
            <a:srgbClr val="A4A3A4"/>
          </p15:clr>
        </p15:guide>
        <p15:guide id="9" pos="24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AB4"/>
    <a:srgbClr val="8B0867"/>
    <a:srgbClr val="415DC2"/>
    <a:srgbClr val="455C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46" autoAdjust="0"/>
    <p:restoredTop sz="92209" autoAdjust="0"/>
  </p:normalViewPr>
  <p:slideViewPr>
    <p:cSldViewPr snapToGrid="0">
      <p:cViewPr varScale="1">
        <p:scale>
          <a:sx n="53" d="100"/>
          <a:sy n="53" d="100"/>
        </p:scale>
        <p:origin x="96" y="162"/>
      </p:cViewPr>
      <p:guideLst>
        <p:guide orient="horz" pos="576"/>
        <p:guide pos="469"/>
        <p:guide orient="horz" pos="4661"/>
        <p:guide orient="horz" pos="5410"/>
        <p:guide orient="horz" pos="397"/>
        <p:guide pos="4892"/>
        <p:guide orient="horz" pos="715"/>
        <p:guide pos="2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8005" cy="340933"/>
          </a:xfrm>
          <a:prstGeom prst="rect">
            <a:avLst/>
          </a:prstGeom>
        </p:spPr>
        <p:txBody>
          <a:bodyPr vert="horz" lIns="63072" tIns="31536" rIns="63072" bIns="31536" rtlCol="0"/>
          <a:lstStyle>
            <a:lvl1pPr algn="l">
              <a:defRPr sz="8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30888" y="1"/>
            <a:ext cx="4308005" cy="340933"/>
          </a:xfrm>
          <a:prstGeom prst="rect">
            <a:avLst/>
          </a:prstGeom>
        </p:spPr>
        <p:txBody>
          <a:bodyPr vert="horz" lIns="63072" tIns="31536" rIns="63072" bIns="31536" rtlCol="0"/>
          <a:lstStyle>
            <a:lvl1pPr algn="r">
              <a:defRPr sz="800"/>
            </a:lvl1pPr>
          </a:lstStyle>
          <a:p>
            <a:fld id="{A8C329A0-BA99-46D0-89F2-CDEB25D8B8AE}" type="datetimeFigureOut">
              <a:rPr lang="ru-RU" smtClean="0"/>
              <a:t>08.08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32113" y="850900"/>
            <a:ext cx="4076700" cy="2297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3072" tIns="31536" rIns="63072" bIns="3153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3687" y="3277162"/>
            <a:ext cx="7953553" cy="2680528"/>
          </a:xfrm>
          <a:prstGeom prst="rect">
            <a:avLst/>
          </a:prstGeom>
        </p:spPr>
        <p:txBody>
          <a:bodyPr vert="horz" lIns="63072" tIns="31536" rIns="63072" bIns="3153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67855"/>
            <a:ext cx="4308005" cy="340933"/>
          </a:xfrm>
          <a:prstGeom prst="rect">
            <a:avLst/>
          </a:prstGeom>
        </p:spPr>
        <p:txBody>
          <a:bodyPr vert="horz" lIns="63072" tIns="31536" rIns="63072" bIns="31536" rtlCol="0" anchor="b"/>
          <a:lstStyle>
            <a:lvl1pPr algn="l">
              <a:defRPr sz="8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30888" y="6467855"/>
            <a:ext cx="4308005" cy="340933"/>
          </a:xfrm>
          <a:prstGeom prst="rect">
            <a:avLst/>
          </a:prstGeom>
        </p:spPr>
        <p:txBody>
          <a:bodyPr vert="horz" lIns="63072" tIns="31536" rIns="63072" bIns="31536" rtlCol="0" anchor="b"/>
          <a:lstStyle>
            <a:lvl1pPr algn="r">
              <a:defRPr sz="800"/>
            </a:lvl1pPr>
          </a:lstStyle>
          <a:p>
            <a:fld id="{943B9F77-43BE-4BB3-93DD-E826840C60D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4352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B9F77-43BE-4BB3-93DD-E826840C60DF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3597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6188571" y="0"/>
            <a:ext cx="9343529" cy="8750300"/>
          </a:xfrm>
          <a:prstGeom prst="rect">
            <a:avLst/>
          </a:prstGeom>
          <a:gradFill flip="none" rotWithShape="1">
            <a:gsLst>
              <a:gs pos="0">
                <a:srgbClr val="006AB4"/>
              </a:gs>
              <a:gs pos="74000">
                <a:srgbClr val="2A6DB4">
                  <a:lumMod val="100000"/>
                </a:srgbClr>
              </a:gs>
              <a:gs pos="100000">
                <a:srgbClr val="546FB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6" name="Рисунок 40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6188571" cy="8750300"/>
          </a:xfrm>
        </p:spPr>
        <p:txBody>
          <a:bodyPr tIns="1080000" anchor="ctr">
            <a:normAutofit/>
          </a:bodyPr>
          <a:lstStyle>
            <a:lvl1pPr marL="0" indent="0" algn="ctr">
              <a:buNone/>
              <a:defRPr sz="1529" baseline="0"/>
            </a:lvl1pPr>
          </a:lstStyle>
          <a:p>
            <a:r>
              <a:rPr lang="ru-RU" dirty="0"/>
              <a:t>Вставьте изображение по тематике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9" name="Текст 11"/>
          <p:cNvSpPr>
            <a:spLocks noGrp="1"/>
          </p:cNvSpPr>
          <p:nvPr>
            <p:ph type="body" sz="quarter" idx="10" hasCustomPrompt="1"/>
          </p:nvPr>
        </p:nvSpPr>
        <p:spPr>
          <a:xfrm>
            <a:off x="7050118" y="3305670"/>
            <a:ext cx="8312100" cy="1130247"/>
          </a:xfrm>
        </p:spPr>
        <p:txBody>
          <a:bodyPr tIns="0" bIns="0" anchor="ctr">
            <a:normAutofit/>
          </a:bodyPr>
          <a:lstStyle>
            <a:lvl1pPr marL="0" indent="0">
              <a:buNone/>
              <a:defRPr sz="2803" b="0" i="0" baseline="0">
                <a:solidFill>
                  <a:schemeClr val="bg1"/>
                </a:solidFill>
                <a:latin typeface="Stem Medium" panose="020B0603020203020204" pitchFamily="34" charset="0"/>
                <a:ea typeface="Stem Medium" panose="020B0603020203020204" pitchFamily="34" charset="0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ДЛИННОГО НАЗВАНИЯ ПРЕЗЕНТАЦИИ </a:t>
            </a:r>
          </a:p>
        </p:txBody>
      </p:sp>
      <p:sp>
        <p:nvSpPr>
          <p:cNvPr id="13" name="Текст 20"/>
          <p:cNvSpPr>
            <a:spLocks noGrp="1"/>
          </p:cNvSpPr>
          <p:nvPr>
            <p:ph type="body" sz="quarter" idx="12" hasCustomPrompt="1"/>
          </p:nvPr>
        </p:nvSpPr>
        <p:spPr>
          <a:xfrm>
            <a:off x="7050116" y="7475723"/>
            <a:ext cx="8481983" cy="705403"/>
          </a:xfrm>
        </p:spPr>
        <p:txBody>
          <a:bodyPr tIns="0" bIns="0" anchor="ctr">
            <a:noAutofit/>
          </a:bodyPr>
          <a:lstStyle>
            <a:lvl1pPr marL="0" indent="0" algn="l">
              <a:buNone/>
              <a:defRPr sz="1529" b="0" i="0" baseline="0">
                <a:solidFill>
                  <a:schemeClr val="bg1"/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582473" indent="0">
              <a:buNone/>
              <a:defRPr sz="2293">
                <a:solidFill>
                  <a:srgbClr val="004379"/>
                </a:solidFill>
                <a:latin typeface="+mj-lt"/>
              </a:defRPr>
            </a:lvl2pPr>
            <a:lvl3pPr marL="1164946" indent="0">
              <a:buNone/>
              <a:defRPr sz="2038">
                <a:solidFill>
                  <a:srgbClr val="004379"/>
                </a:solidFill>
                <a:latin typeface="+mj-lt"/>
              </a:defRPr>
            </a:lvl3pPr>
            <a:lvl4pPr marL="1747418" indent="0">
              <a:buNone/>
              <a:defRPr sz="1784">
                <a:solidFill>
                  <a:srgbClr val="004379"/>
                </a:solidFill>
                <a:latin typeface="+mj-lt"/>
              </a:defRPr>
            </a:lvl4pPr>
            <a:lvl5pPr marL="2329891" indent="0">
              <a:buNone/>
              <a:defRPr sz="1784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ДЕПАРТАМЕНТА ИЛИ ПОДРАЗДЕЛЕНИЯ</a:t>
            </a:r>
          </a:p>
          <a:p>
            <a:pPr lvl="0"/>
            <a:r>
              <a:rPr lang="ru-RU" dirty="0"/>
              <a:t>ГОД</a:t>
            </a:r>
          </a:p>
        </p:txBody>
      </p:sp>
      <p:sp>
        <p:nvSpPr>
          <p:cNvPr id="14" name="Текст 20"/>
          <p:cNvSpPr>
            <a:spLocks noGrp="1"/>
          </p:cNvSpPr>
          <p:nvPr>
            <p:ph type="body" sz="quarter" idx="16" hasCustomPrompt="1"/>
          </p:nvPr>
        </p:nvSpPr>
        <p:spPr>
          <a:xfrm>
            <a:off x="7050118" y="4612137"/>
            <a:ext cx="8312100" cy="522587"/>
          </a:xfrm>
        </p:spPr>
        <p:txBody>
          <a:bodyPr tIns="0" bIns="0" anchor="t">
            <a:noAutofit/>
          </a:bodyPr>
          <a:lstStyle>
            <a:lvl1pPr marL="0" indent="0" algn="l">
              <a:buNone/>
              <a:defRPr sz="1529" b="0" i="0" baseline="0">
                <a:solidFill>
                  <a:schemeClr val="bg1"/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582473" indent="0">
              <a:buNone/>
              <a:defRPr sz="2293">
                <a:solidFill>
                  <a:srgbClr val="004379"/>
                </a:solidFill>
                <a:latin typeface="+mj-lt"/>
              </a:defRPr>
            </a:lvl2pPr>
            <a:lvl3pPr marL="1164946" indent="0">
              <a:buNone/>
              <a:defRPr sz="2038">
                <a:solidFill>
                  <a:srgbClr val="004379"/>
                </a:solidFill>
                <a:latin typeface="+mj-lt"/>
              </a:defRPr>
            </a:lvl3pPr>
            <a:lvl4pPr marL="1747418" indent="0">
              <a:buNone/>
              <a:defRPr sz="1784">
                <a:solidFill>
                  <a:srgbClr val="004379"/>
                </a:solidFill>
                <a:latin typeface="+mj-lt"/>
              </a:defRPr>
            </a:lvl4pPr>
            <a:lvl5pPr marL="2329891" indent="0">
              <a:buNone/>
              <a:defRPr sz="1784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СОПРОВОДИТЕЛЬНЫЙ КОММЕНТАРИЙ ПО ТЕМЕ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5798" y="649293"/>
            <a:ext cx="3030929" cy="641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527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(Содержание 5 разделов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3" y="523366"/>
            <a:ext cx="12489696" cy="657060"/>
          </a:xfrm>
        </p:spPr>
        <p:txBody>
          <a:bodyPr lIns="0" tIns="0" anchor="t">
            <a:normAutofit/>
          </a:bodyPr>
          <a:lstStyle>
            <a:lvl1pPr algn="ctr"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Содержание: 5 разделов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Текст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61766" y="4387304"/>
            <a:ext cx="2729237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784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2</a:t>
            </a:r>
          </a:p>
        </p:txBody>
      </p:sp>
      <p:sp>
        <p:nvSpPr>
          <p:cNvPr id="12" name="Текст 16"/>
          <p:cNvSpPr>
            <a:spLocks noGrp="1"/>
          </p:cNvSpPr>
          <p:nvPr>
            <p:ph type="body" sz="quarter" idx="11" hasCustomPrompt="1"/>
          </p:nvPr>
        </p:nvSpPr>
        <p:spPr>
          <a:xfrm>
            <a:off x="895971" y="4399456"/>
            <a:ext cx="2744408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784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1</a:t>
            </a:r>
          </a:p>
        </p:txBody>
      </p:sp>
      <p:sp>
        <p:nvSpPr>
          <p:cNvPr id="13" name="Текст 16"/>
          <p:cNvSpPr>
            <a:spLocks noGrp="1"/>
          </p:cNvSpPr>
          <p:nvPr>
            <p:ph type="body" sz="quarter" idx="12" hasCustomPrompt="1"/>
          </p:nvPr>
        </p:nvSpPr>
        <p:spPr>
          <a:xfrm>
            <a:off x="9132167" y="4399456"/>
            <a:ext cx="2778806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784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4</a:t>
            </a:r>
          </a:p>
        </p:txBody>
      </p:sp>
      <p:sp>
        <p:nvSpPr>
          <p:cNvPr id="17" name="Текст 23"/>
          <p:cNvSpPr>
            <a:spLocks noGrp="1"/>
          </p:cNvSpPr>
          <p:nvPr>
            <p:ph type="body" sz="quarter" idx="13" hasCustomPrompt="1"/>
          </p:nvPr>
        </p:nvSpPr>
        <p:spPr>
          <a:xfrm>
            <a:off x="895970" y="5092188"/>
            <a:ext cx="2744409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1</a:t>
            </a:r>
          </a:p>
        </p:txBody>
      </p:sp>
      <p:sp>
        <p:nvSpPr>
          <p:cNvPr id="18" name="Текст 23"/>
          <p:cNvSpPr>
            <a:spLocks noGrp="1"/>
          </p:cNvSpPr>
          <p:nvPr>
            <p:ph type="body" sz="quarter" idx="14" hasCustomPrompt="1"/>
          </p:nvPr>
        </p:nvSpPr>
        <p:spPr>
          <a:xfrm>
            <a:off x="3679443" y="5092188"/>
            <a:ext cx="2711560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2</a:t>
            </a:r>
          </a:p>
        </p:txBody>
      </p:sp>
      <p:sp>
        <p:nvSpPr>
          <p:cNvPr id="19" name="Текст 23"/>
          <p:cNvSpPr>
            <a:spLocks noGrp="1"/>
          </p:cNvSpPr>
          <p:nvPr>
            <p:ph type="body" sz="quarter" idx="15" hasCustomPrompt="1"/>
          </p:nvPr>
        </p:nvSpPr>
        <p:spPr>
          <a:xfrm>
            <a:off x="9120033" y="5092188"/>
            <a:ext cx="2773266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4</a:t>
            </a:r>
          </a:p>
        </p:txBody>
      </p:sp>
      <p:sp>
        <p:nvSpPr>
          <p:cNvPr id="21" name="Текст 16"/>
          <p:cNvSpPr>
            <a:spLocks noGrp="1"/>
          </p:cNvSpPr>
          <p:nvPr>
            <p:ph type="body" sz="quarter" idx="16" hasCustomPrompt="1"/>
          </p:nvPr>
        </p:nvSpPr>
        <p:spPr>
          <a:xfrm>
            <a:off x="6412392" y="4399456"/>
            <a:ext cx="2702101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784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3</a:t>
            </a:r>
          </a:p>
        </p:txBody>
      </p:sp>
      <p:sp>
        <p:nvSpPr>
          <p:cNvPr id="23" name="Текст 23"/>
          <p:cNvSpPr>
            <a:spLocks noGrp="1"/>
          </p:cNvSpPr>
          <p:nvPr>
            <p:ph type="body" sz="quarter" idx="17" hasCustomPrompt="1"/>
          </p:nvPr>
        </p:nvSpPr>
        <p:spPr>
          <a:xfrm>
            <a:off x="6443395" y="5092188"/>
            <a:ext cx="2658965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3</a:t>
            </a:r>
          </a:p>
        </p:txBody>
      </p:sp>
      <p:sp>
        <p:nvSpPr>
          <p:cNvPr id="25" name="Текст 16"/>
          <p:cNvSpPr>
            <a:spLocks noGrp="1"/>
          </p:cNvSpPr>
          <p:nvPr>
            <p:ph type="body" sz="quarter" idx="18" hasCustomPrompt="1"/>
          </p:nvPr>
        </p:nvSpPr>
        <p:spPr>
          <a:xfrm>
            <a:off x="11910973" y="4399456"/>
            <a:ext cx="2721636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784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5</a:t>
            </a:r>
          </a:p>
        </p:txBody>
      </p:sp>
      <p:sp>
        <p:nvSpPr>
          <p:cNvPr id="27" name="Текст 23"/>
          <p:cNvSpPr>
            <a:spLocks noGrp="1"/>
          </p:cNvSpPr>
          <p:nvPr>
            <p:ph type="body" sz="quarter" idx="19" hasCustomPrompt="1"/>
          </p:nvPr>
        </p:nvSpPr>
        <p:spPr>
          <a:xfrm>
            <a:off x="11928648" y="5092188"/>
            <a:ext cx="2703961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5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6420810" y="3273260"/>
            <a:ext cx="0" cy="3305669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9107435" y="3269493"/>
            <a:ext cx="26705" cy="3309437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11910973" y="3273260"/>
            <a:ext cx="0" cy="3305669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3661768" y="3273260"/>
            <a:ext cx="0" cy="3305669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Рисунок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8947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2320">
          <p15:clr>
            <a:srgbClr val="FBAE40"/>
          </p15:clr>
        </p15:guide>
        <p15:guide id="3" pos="3999">
          <p15:clr>
            <a:srgbClr val="FBAE40"/>
          </p15:clr>
        </p15:guide>
        <p15:guide id="4" pos="2661">
          <p15:clr>
            <a:srgbClr val="FBAE40"/>
          </p15:clr>
        </p15:guide>
        <p15:guide id="5" pos="1277">
          <p15:clr>
            <a:srgbClr val="FBAE40"/>
          </p15:clr>
        </p15:guide>
        <p15:guide id="6" pos="3659">
          <p15:clr>
            <a:srgbClr val="FBAE40"/>
          </p15:clr>
        </p15:guide>
        <p15:guide id="7" orient="horz" pos="1706">
          <p15:clr>
            <a:srgbClr val="FBAE40"/>
          </p15:clr>
        </p15:guide>
        <p15:guide id="8" pos="4997">
          <p15:clr>
            <a:srgbClr val="FBAE40"/>
          </p15:clr>
        </p15:guide>
        <p15:guide id="9" pos="5337">
          <p15:clr>
            <a:srgbClr val="FBAE40"/>
          </p15:clr>
        </p15:guide>
        <p15:guide id="10" pos="6403">
          <p15:clr>
            <a:srgbClr val="FBAE40"/>
          </p15:clr>
        </p15:guide>
        <p15:guide id="11" pos="6720">
          <p15:clr>
            <a:srgbClr val="FBAE40"/>
          </p15:clr>
        </p15:guide>
        <p15:guide id="12" orient="horz" pos="202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(Содержание 6 разделов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25597" y="523366"/>
            <a:ext cx="12489696" cy="657060"/>
          </a:xfrm>
        </p:spPr>
        <p:txBody>
          <a:bodyPr lIns="0" tIns="0" anchor="t">
            <a:normAutofit/>
          </a:bodyPr>
          <a:lstStyle>
            <a:lvl1pPr algn="ctr"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Содержание: 6 разделов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2" name="Текст 16"/>
          <p:cNvSpPr>
            <a:spLocks noGrp="1"/>
          </p:cNvSpPr>
          <p:nvPr>
            <p:ph type="body" sz="quarter" idx="11" hasCustomPrompt="1"/>
          </p:nvPr>
        </p:nvSpPr>
        <p:spPr>
          <a:xfrm>
            <a:off x="1386472" y="3876820"/>
            <a:ext cx="4259194" cy="322060"/>
          </a:xfrm>
        </p:spPr>
        <p:txBody>
          <a:bodyPr anchor="t">
            <a:noAutofit/>
          </a:bodyPr>
          <a:lstStyle>
            <a:lvl1pPr marL="0" indent="0" algn="ctr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1</a:t>
            </a:r>
          </a:p>
        </p:txBody>
      </p:sp>
      <p:sp>
        <p:nvSpPr>
          <p:cNvPr id="29" name="Текст 16"/>
          <p:cNvSpPr>
            <a:spLocks noGrp="1"/>
          </p:cNvSpPr>
          <p:nvPr>
            <p:ph type="body" sz="quarter" idx="14" hasCustomPrompt="1"/>
          </p:nvPr>
        </p:nvSpPr>
        <p:spPr>
          <a:xfrm>
            <a:off x="5645666" y="3876820"/>
            <a:ext cx="4259194" cy="322060"/>
          </a:xfrm>
        </p:spPr>
        <p:txBody>
          <a:bodyPr anchor="t">
            <a:noAutofit/>
          </a:bodyPr>
          <a:lstStyle>
            <a:lvl1pPr marL="0" indent="0" algn="ctr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2</a:t>
            </a:r>
          </a:p>
        </p:txBody>
      </p:sp>
      <p:sp>
        <p:nvSpPr>
          <p:cNvPr id="32" name="Текст 16"/>
          <p:cNvSpPr>
            <a:spLocks noGrp="1"/>
          </p:cNvSpPr>
          <p:nvPr>
            <p:ph type="body" sz="quarter" idx="16" hasCustomPrompt="1"/>
          </p:nvPr>
        </p:nvSpPr>
        <p:spPr>
          <a:xfrm>
            <a:off x="9904861" y="3876819"/>
            <a:ext cx="4259194" cy="322060"/>
          </a:xfrm>
        </p:spPr>
        <p:txBody>
          <a:bodyPr anchor="t">
            <a:noAutofit/>
          </a:bodyPr>
          <a:lstStyle>
            <a:lvl1pPr marL="0" indent="0" algn="ctr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3</a:t>
            </a:r>
          </a:p>
        </p:txBody>
      </p:sp>
      <p:sp>
        <p:nvSpPr>
          <p:cNvPr id="44" name="Текст 16"/>
          <p:cNvSpPr>
            <a:spLocks noGrp="1"/>
          </p:cNvSpPr>
          <p:nvPr>
            <p:ph type="body" sz="quarter" idx="17" hasCustomPrompt="1"/>
          </p:nvPr>
        </p:nvSpPr>
        <p:spPr>
          <a:xfrm>
            <a:off x="1386472" y="5869320"/>
            <a:ext cx="4259194" cy="322060"/>
          </a:xfrm>
        </p:spPr>
        <p:txBody>
          <a:bodyPr anchor="t">
            <a:noAutofit/>
          </a:bodyPr>
          <a:lstStyle>
            <a:lvl1pPr marL="0" indent="0" algn="ctr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</a:t>
            </a:r>
            <a:r>
              <a:rPr lang="en-US" dirty="0"/>
              <a:t>4</a:t>
            </a:r>
            <a:endParaRPr lang="ru-RU" dirty="0"/>
          </a:p>
        </p:txBody>
      </p:sp>
      <p:sp>
        <p:nvSpPr>
          <p:cNvPr id="45" name="Текст 16"/>
          <p:cNvSpPr>
            <a:spLocks noGrp="1"/>
          </p:cNvSpPr>
          <p:nvPr>
            <p:ph type="body" sz="quarter" idx="18" hasCustomPrompt="1"/>
          </p:nvPr>
        </p:nvSpPr>
        <p:spPr>
          <a:xfrm>
            <a:off x="5645666" y="5869321"/>
            <a:ext cx="4259194" cy="322060"/>
          </a:xfrm>
        </p:spPr>
        <p:txBody>
          <a:bodyPr anchor="t">
            <a:noAutofit/>
          </a:bodyPr>
          <a:lstStyle>
            <a:lvl1pPr marL="0" indent="0" algn="ctr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</a:t>
            </a:r>
            <a:r>
              <a:rPr lang="en-US" dirty="0"/>
              <a:t>5</a:t>
            </a:r>
            <a:endParaRPr lang="ru-RU" dirty="0"/>
          </a:p>
        </p:txBody>
      </p:sp>
      <p:sp>
        <p:nvSpPr>
          <p:cNvPr id="46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9904861" y="5877501"/>
            <a:ext cx="4259194" cy="322060"/>
          </a:xfrm>
        </p:spPr>
        <p:txBody>
          <a:bodyPr anchor="t">
            <a:noAutofit/>
          </a:bodyPr>
          <a:lstStyle>
            <a:lvl1pPr marL="0" indent="0" algn="ctr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</a:t>
            </a:r>
            <a:r>
              <a:rPr lang="en-US" dirty="0"/>
              <a:t>6</a:t>
            </a:r>
            <a:endParaRPr lang="ru-RU" dirty="0"/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5654064" y="2423214"/>
            <a:ext cx="0" cy="4670878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9929580" y="2423214"/>
            <a:ext cx="0" cy="4670878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0614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6947">
          <p15:clr>
            <a:srgbClr val="FBAE40"/>
          </p15:clr>
        </p15:guide>
        <p15:guide id="3" pos="1912">
          <p15:clr>
            <a:srgbClr val="FBAE40"/>
          </p15:clr>
        </p15:guide>
        <p15:guide id="4" pos="3999">
          <p15:clr>
            <a:srgbClr val="FBAE40"/>
          </p15:clr>
        </p15:guide>
        <p15:guide id="5" pos="3681">
          <p15:clr>
            <a:srgbClr val="FBAE40"/>
          </p15:clr>
        </p15:guide>
        <p15:guide id="6" orient="horz" pos="1684">
          <p15:clr>
            <a:srgbClr val="FBAE40"/>
          </p15:clr>
        </p15:guide>
        <p15:guide id="7" orient="horz" pos="1366">
          <p15:clr>
            <a:srgbClr val="FBAE40"/>
          </p15:clr>
        </p15:guide>
        <p15:guide id="8" orient="horz" pos="2682">
          <p15:clr>
            <a:srgbClr val="FBAE40"/>
          </p15:clr>
        </p15:guide>
        <p15:guide id="9" orient="horz" pos="2364">
          <p15:clr>
            <a:srgbClr val="FBAE40"/>
          </p15:clr>
        </p15:guide>
        <p15:guide id="10" pos="1595">
          <p15:clr>
            <a:srgbClr val="FBAE40"/>
          </p15:clr>
        </p15:guide>
        <p15:guide id="11" pos="5790">
          <p15:clr>
            <a:srgbClr val="FBAE40"/>
          </p15:clr>
        </p15:guide>
        <p15:guide id="12" pos="610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(Содержание 8 разделов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16"/>
          <p:cNvSpPr>
            <a:spLocks noGrp="1"/>
          </p:cNvSpPr>
          <p:nvPr>
            <p:ph type="body" sz="quarter" idx="13" hasCustomPrompt="1"/>
          </p:nvPr>
        </p:nvSpPr>
        <p:spPr>
          <a:xfrm>
            <a:off x="2865527" y="2783024"/>
            <a:ext cx="4259194" cy="322060"/>
          </a:xfrm>
        </p:spPr>
        <p:txBody>
          <a:bodyPr anchor="t">
            <a:noAutofit/>
          </a:bodyPr>
          <a:lstStyle>
            <a:lvl1pPr marL="0" indent="0" algn="l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1</a:t>
            </a:r>
          </a:p>
        </p:txBody>
      </p:sp>
      <p:sp>
        <p:nvSpPr>
          <p:cNvPr id="7" name="Текст 16"/>
          <p:cNvSpPr>
            <a:spLocks noGrp="1"/>
          </p:cNvSpPr>
          <p:nvPr>
            <p:ph type="body" sz="quarter" idx="14" hasCustomPrompt="1"/>
          </p:nvPr>
        </p:nvSpPr>
        <p:spPr>
          <a:xfrm>
            <a:off x="2865527" y="3911279"/>
            <a:ext cx="4259194" cy="322060"/>
          </a:xfrm>
        </p:spPr>
        <p:txBody>
          <a:bodyPr anchor="t">
            <a:noAutofit/>
          </a:bodyPr>
          <a:lstStyle>
            <a:lvl1pPr marL="0" indent="0" algn="l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2</a:t>
            </a:r>
          </a:p>
        </p:txBody>
      </p:sp>
      <p:sp>
        <p:nvSpPr>
          <p:cNvPr id="8" name="Текст 16"/>
          <p:cNvSpPr>
            <a:spLocks noGrp="1"/>
          </p:cNvSpPr>
          <p:nvPr>
            <p:ph type="body" sz="quarter" idx="16" hasCustomPrompt="1"/>
          </p:nvPr>
        </p:nvSpPr>
        <p:spPr>
          <a:xfrm>
            <a:off x="2865527" y="5039534"/>
            <a:ext cx="4259194" cy="322060"/>
          </a:xfrm>
        </p:spPr>
        <p:txBody>
          <a:bodyPr anchor="t">
            <a:noAutofit/>
          </a:bodyPr>
          <a:lstStyle>
            <a:lvl1pPr marL="0" indent="0" algn="l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3</a:t>
            </a:r>
          </a:p>
        </p:txBody>
      </p:sp>
      <p:sp>
        <p:nvSpPr>
          <p:cNvPr id="12" name="Текст 16"/>
          <p:cNvSpPr>
            <a:spLocks noGrp="1"/>
          </p:cNvSpPr>
          <p:nvPr>
            <p:ph type="body" sz="quarter" idx="17" hasCustomPrompt="1"/>
          </p:nvPr>
        </p:nvSpPr>
        <p:spPr>
          <a:xfrm>
            <a:off x="9102059" y="2784437"/>
            <a:ext cx="4259194" cy="322060"/>
          </a:xfrm>
        </p:spPr>
        <p:txBody>
          <a:bodyPr anchor="t">
            <a:noAutofit/>
          </a:bodyPr>
          <a:lstStyle>
            <a:lvl1pPr marL="0" indent="0" algn="l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</a:t>
            </a:r>
            <a:r>
              <a:rPr lang="en-US" dirty="0"/>
              <a:t>4</a:t>
            </a:r>
            <a:endParaRPr lang="ru-RU" dirty="0"/>
          </a:p>
        </p:txBody>
      </p:sp>
      <p:sp>
        <p:nvSpPr>
          <p:cNvPr id="13" name="Текст 16"/>
          <p:cNvSpPr>
            <a:spLocks noGrp="1"/>
          </p:cNvSpPr>
          <p:nvPr>
            <p:ph type="body" sz="quarter" idx="18" hasCustomPrompt="1"/>
          </p:nvPr>
        </p:nvSpPr>
        <p:spPr>
          <a:xfrm>
            <a:off x="9114194" y="3924846"/>
            <a:ext cx="4259194" cy="322060"/>
          </a:xfrm>
        </p:spPr>
        <p:txBody>
          <a:bodyPr anchor="t">
            <a:noAutofit/>
          </a:bodyPr>
          <a:lstStyle>
            <a:lvl1pPr marL="0" indent="0" algn="l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</a:t>
            </a:r>
            <a:r>
              <a:rPr lang="en-US" dirty="0"/>
              <a:t>5</a:t>
            </a:r>
            <a:endParaRPr lang="ru-RU" dirty="0"/>
          </a:p>
        </p:txBody>
      </p:sp>
      <p:sp>
        <p:nvSpPr>
          <p:cNvPr id="14" name="Текст 16"/>
          <p:cNvSpPr>
            <a:spLocks noGrp="1"/>
          </p:cNvSpPr>
          <p:nvPr>
            <p:ph type="body" sz="quarter" idx="19" hasCustomPrompt="1"/>
          </p:nvPr>
        </p:nvSpPr>
        <p:spPr>
          <a:xfrm>
            <a:off x="9114194" y="5053101"/>
            <a:ext cx="4259194" cy="322060"/>
          </a:xfrm>
        </p:spPr>
        <p:txBody>
          <a:bodyPr anchor="t">
            <a:noAutofit/>
          </a:bodyPr>
          <a:lstStyle>
            <a:lvl1pPr marL="0" indent="0" algn="l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</a:t>
            </a:r>
            <a:r>
              <a:rPr lang="en-US" dirty="0"/>
              <a:t>6</a:t>
            </a:r>
            <a:endParaRPr lang="ru-RU" dirty="0"/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20" hasCustomPrompt="1"/>
          </p:nvPr>
        </p:nvSpPr>
        <p:spPr>
          <a:xfrm>
            <a:off x="2865527" y="6173864"/>
            <a:ext cx="4259194" cy="322060"/>
          </a:xfrm>
        </p:spPr>
        <p:txBody>
          <a:bodyPr anchor="t">
            <a:noAutofit/>
          </a:bodyPr>
          <a:lstStyle>
            <a:lvl1pPr marL="0" indent="0" algn="l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3</a:t>
            </a:r>
          </a:p>
        </p:txBody>
      </p:sp>
      <p:sp>
        <p:nvSpPr>
          <p:cNvPr id="20" name="Текст 16"/>
          <p:cNvSpPr>
            <a:spLocks noGrp="1"/>
          </p:cNvSpPr>
          <p:nvPr>
            <p:ph type="body" sz="quarter" idx="21" hasCustomPrompt="1"/>
          </p:nvPr>
        </p:nvSpPr>
        <p:spPr>
          <a:xfrm>
            <a:off x="9114194" y="6167891"/>
            <a:ext cx="4259194" cy="322060"/>
          </a:xfrm>
        </p:spPr>
        <p:txBody>
          <a:bodyPr anchor="t">
            <a:noAutofit/>
          </a:bodyPr>
          <a:lstStyle>
            <a:lvl1pPr marL="0" indent="0" algn="l">
              <a:buNone/>
              <a:defRPr sz="2038" baseline="0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</a:t>
            </a:r>
            <a:r>
              <a:rPr lang="en-US" dirty="0"/>
              <a:t> </a:t>
            </a:r>
            <a:r>
              <a:rPr lang="ru-RU" dirty="0"/>
              <a:t>раздела 3</a:t>
            </a:r>
          </a:p>
        </p:txBody>
      </p:sp>
      <p:sp>
        <p:nvSpPr>
          <p:cNvPr id="22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25597" y="523366"/>
            <a:ext cx="12489696" cy="657060"/>
          </a:xfrm>
        </p:spPr>
        <p:txBody>
          <a:bodyPr lIns="0" tIns="0" anchor="t">
            <a:normAutofit/>
          </a:bodyPr>
          <a:lstStyle>
            <a:lvl1pPr algn="ctr"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Содержание: </a:t>
            </a:r>
            <a:r>
              <a:rPr lang="en-US" dirty="0"/>
              <a:t>8</a:t>
            </a:r>
            <a:r>
              <a:rPr lang="ru-RU" dirty="0"/>
              <a:t> разделов</a:t>
            </a:r>
          </a:p>
        </p:txBody>
      </p:sp>
      <p:sp>
        <p:nvSpPr>
          <p:cNvPr id="2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8761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158">
          <p15:clr>
            <a:srgbClr val="FBAE40"/>
          </p15:clr>
        </p15:guide>
        <p15:guide id="2" pos="4498">
          <p15:clr>
            <a:srgbClr val="FBAE40"/>
          </p15:clr>
        </p15:guide>
        <p15:guide id="3" pos="1073">
          <p15:clr>
            <a:srgbClr val="FBAE40"/>
          </p15:clr>
        </p15:guide>
        <p15:guide id="4" pos="1413">
          <p15:clr>
            <a:srgbClr val="FBAE40"/>
          </p15:clr>
        </p15:guide>
        <p15:guide id="5" orient="horz" pos="1275">
          <p15:clr>
            <a:srgbClr val="FBAE40"/>
          </p15:clr>
        </p15:guide>
        <p15:guide id="6" orient="horz" pos="1616">
          <p15:clr>
            <a:srgbClr val="FBAE40"/>
          </p15:clr>
        </p15:guide>
        <p15:guide id="7" orient="horz" pos="1842">
          <p15:clr>
            <a:srgbClr val="FBAE40"/>
          </p15:clr>
        </p15:guide>
        <p15:guide id="8" orient="horz" pos="2183">
          <p15:clr>
            <a:srgbClr val="FBAE40"/>
          </p15:clr>
        </p15:guide>
        <p15:guide id="9" orient="horz" pos="2387">
          <p15:clr>
            <a:srgbClr val="FBAE40"/>
          </p15:clr>
        </p15:guide>
        <p15:guide id="10" orient="horz" pos="2727">
          <p15:clr>
            <a:srgbClr val="FBAE40"/>
          </p15:clr>
        </p15:guide>
        <p15:guide id="11" orient="horz" pos="3294">
          <p15:clr>
            <a:srgbClr val="FBAE40"/>
          </p15:clr>
        </p15:guide>
        <p15:guide id="12" orient="horz" pos="295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тем тем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 flip="none" rotWithShape="1">
            <a:gsLst>
              <a:gs pos="0">
                <a:srgbClr val="006AB4"/>
              </a:gs>
              <a:gs pos="74000">
                <a:srgbClr val="2A6DB4">
                  <a:lumMod val="100000"/>
                </a:srgbClr>
              </a:gs>
              <a:gs pos="100000">
                <a:srgbClr val="546FB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 dirty="0">
              <a:latin typeface="+mj-lt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51" b="11237"/>
          <a:stretch>
            <a:fillRect/>
          </a:stretch>
        </p:blipFill>
        <p:spPr>
          <a:xfrm>
            <a:off x="8876740" y="2430639"/>
            <a:ext cx="6655361" cy="6319661"/>
          </a:xfrm>
          <a:custGeom>
            <a:avLst/>
            <a:gdLst>
              <a:gd name="connsiteX0" fmla="*/ 0 w 5224159"/>
              <a:gd name="connsiteY0" fmla="*/ 0 h 4953000"/>
              <a:gd name="connsiteX1" fmla="*/ 5224159 w 5224159"/>
              <a:gd name="connsiteY1" fmla="*/ 0 h 4953000"/>
              <a:gd name="connsiteX2" fmla="*/ 5224159 w 5224159"/>
              <a:gd name="connsiteY2" fmla="*/ 4953000 h 4953000"/>
              <a:gd name="connsiteX3" fmla="*/ 0 w 5224159"/>
              <a:gd name="connsiteY3" fmla="*/ 495300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4159" h="4953000">
                <a:moveTo>
                  <a:pt x="0" y="0"/>
                </a:moveTo>
                <a:lnTo>
                  <a:pt x="5224159" y="0"/>
                </a:lnTo>
                <a:lnTo>
                  <a:pt x="5224159" y="4953000"/>
                </a:lnTo>
                <a:lnTo>
                  <a:pt x="0" y="4953000"/>
                </a:lnTo>
                <a:close/>
              </a:path>
            </a:pathLst>
          </a:custGeom>
        </p:spPr>
      </p:pic>
      <p:sp>
        <p:nvSpPr>
          <p:cNvPr id="5" name="Прямоугольник 4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>
            <a:gsLst>
              <a:gs pos="0">
                <a:srgbClr val="006AB4">
                  <a:alpha val="35000"/>
                </a:srgbClr>
              </a:gs>
              <a:gs pos="50000">
                <a:srgbClr val="2A6DB4">
                  <a:lumMod val="100000"/>
                  <a:alpha val="35000"/>
                </a:srgbClr>
              </a:gs>
              <a:gs pos="100000">
                <a:srgbClr val="546FB4">
                  <a:alpha val="35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 dirty="0">
              <a:latin typeface="+mj-lt"/>
            </a:endParaRPr>
          </a:p>
        </p:txBody>
      </p:sp>
      <p:sp>
        <p:nvSpPr>
          <p:cNvPr id="7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30272" y="1698899"/>
            <a:ext cx="6735112" cy="4295152"/>
          </a:xfrm>
          <a:noFill/>
        </p:spPr>
        <p:txBody>
          <a:bodyPr tIns="0" bIns="0" anchor="t">
            <a:noAutofit/>
          </a:bodyPr>
          <a:lstStyle>
            <a:lvl1pPr marL="0" indent="0" algn="l">
              <a:buNone/>
              <a:defRPr sz="4077" b="0" spc="-191" baseline="0">
                <a:solidFill>
                  <a:schemeClr val="bg1"/>
                </a:solidFill>
                <a:latin typeface="+mj-lt"/>
                <a:ea typeface="Stem Bold" panose="020B0703020203020204" pitchFamily="34" charset="-52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названия</a:t>
            </a:r>
            <a:br>
              <a:rPr lang="ru-RU" dirty="0"/>
            </a:br>
            <a:r>
              <a:rPr lang="ru-RU" dirty="0"/>
              <a:t>нов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30361471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тем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14" b="11237"/>
          <a:stretch>
            <a:fillRect/>
          </a:stretch>
        </p:blipFill>
        <p:spPr>
          <a:xfrm>
            <a:off x="8876740" y="2430639"/>
            <a:ext cx="6655361" cy="6319661"/>
          </a:xfrm>
          <a:custGeom>
            <a:avLst/>
            <a:gdLst>
              <a:gd name="connsiteX0" fmla="*/ 0 w 5224159"/>
              <a:gd name="connsiteY0" fmla="*/ 0 h 4953000"/>
              <a:gd name="connsiteX1" fmla="*/ 5224159 w 5224159"/>
              <a:gd name="connsiteY1" fmla="*/ 0 h 4953000"/>
              <a:gd name="connsiteX2" fmla="*/ 5224159 w 5224159"/>
              <a:gd name="connsiteY2" fmla="*/ 4953000 h 4953000"/>
              <a:gd name="connsiteX3" fmla="*/ 0 w 5224159"/>
              <a:gd name="connsiteY3" fmla="*/ 495300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4159" h="4953000">
                <a:moveTo>
                  <a:pt x="0" y="0"/>
                </a:moveTo>
                <a:lnTo>
                  <a:pt x="5224159" y="0"/>
                </a:lnTo>
                <a:lnTo>
                  <a:pt x="5224159" y="4953000"/>
                </a:lnTo>
                <a:lnTo>
                  <a:pt x="0" y="4953000"/>
                </a:lnTo>
                <a:close/>
              </a:path>
            </a:pathLst>
          </a:custGeom>
        </p:spPr>
      </p:pic>
      <p:sp>
        <p:nvSpPr>
          <p:cNvPr id="4" name="Текст 11">
            <a:extLst>
              <a:ext uri="{FF2B5EF4-FFF2-40B4-BE49-F238E27FC236}">
                <a16:creationId xmlns:a16="http://schemas.microsoft.com/office/drawing/2014/main" id="{B57D4FE2-9D61-2245-82C4-C445CF7C41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30272" y="1698899"/>
            <a:ext cx="6735112" cy="4295152"/>
          </a:xfrm>
          <a:noFill/>
        </p:spPr>
        <p:txBody>
          <a:bodyPr tIns="0" bIns="0" anchor="t">
            <a:noAutofit/>
          </a:bodyPr>
          <a:lstStyle>
            <a:lvl1pPr marL="0" indent="0" algn="l">
              <a:buNone/>
              <a:defRPr sz="4077" b="0" spc="-191" baseline="0">
                <a:solidFill>
                  <a:srgbClr val="006AB4"/>
                </a:solidFill>
                <a:latin typeface="+mj-lt"/>
                <a:ea typeface="Stem Bold" panose="020B0703020203020204" pitchFamily="34" charset="-52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названия</a:t>
            </a:r>
            <a:br>
              <a:rPr lang="ru-RU" dirty="0"/>
            </a:br>
            <a:r>
              <a:rPr lang="ru-RU" dirty="0"/>
              <a:t>нов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3230865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тем темный c пиктограммой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 flip="none" rotWithShape="1">
            <a:gsLst>
              <a:gs pos="0">
                <a:srgbClr val="006AB4"/>
              </a:gs>
              <a:gs pos="74000">
                <a:srgbClr val="2A6DB4">
                  <a:lumMod val="100000"/>
                </a:srgbClr>
              </a:gs>
              <a:gs pos="100000">
                <a:srgbClr val="546FB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 dirty="0">
              <a:latin typeface="+mj-lt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3071" y="1972436"/>
            <a:ext cx="5965990" cy="5975204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>
            <a:gsLst>
              <a:gs pos="0">
                <a:srgbClr val="006AB4">
                  <a:alpha val="35000"/>
                </a:srgbClr>
              </a:gs>
              <a:gs pos="50000">
                <a:srgbClr val="2A6DB4">
                  <a:lumMod val="100000"/>
                  <a:alpha val="35000"/>
                </a:srgbClr>
              </a:gs>
              <a:gs pos="100000">
                <a:srgbClr val="546FB4">
                  <a:alpha val="35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93" dirty="0">
                <a:latin typeface="+mj-lt"/>
              </a:rPr>
              <a:t> </a:t>
            </a:r>
            <a:endParaRPr lang="ru-RU" sz="2293" dirty="0">
              <a:latin typeface="+mj-lt"/>
            </a:endParaRPr>
          </a:p>
        </p:txBody>
      </p:sp>
      <p:sp>
        <p:nvSpPr>
          <p:cNvPr id="7" name="Текст 11">
            <a:extLst>
              <a:ext uri="{FF2B5EF4-FFF2-40B4-BE49-F238E27FC236}">
                <a16:creationId xmlns:a16="http://schemas.microsoft.com/office/drawing/2014/main" id="{3AF6465D-20CC-CA4F-A5D2-7337EAB826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0272" y="1698899"/>
            <a:ext cx="6735112" cy="4295152"/>
          </a:xfrm>
          <a:noFill/>
        </p:spPr>
        <p:txBody>
          <a:bodyPr tIns="0" bIns="0" anchor="t">
            <a:noAutofit/>
          </a:bodyPr>
          <a:lstStyle>
            <a:lvl1pPr marL="0" indent="0" algn="l">
              <a:buNone/>
              <a:defRPr sz="4077" b="0" spc="-191" baseline="0">
                <a:solidFill>
                  <a:schemeClr val="bg1"/>
                </a:solidFill>
                <a:latin typeface="+mj-lt"/>
                <a:ea typeface="Stem Bold" panose="020B0703020203020204" pitchFamily="34" charset="-52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названия</a:t>
            </a:r>
            <a:br>
              <a:rPr lang="ru-RU" dirty="0"/>
            </a:br>
            <a:r>
              <a:rPr lang="ru-RU" dirty="0"/>
              <a:t>нов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7309074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тем темный c пиктограммой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 flip="none" rotWithShape="1">
            <a:gsLst>
              <a:gs pos="0">
                <a:srgbClr val="006AB4"/>
              </a:gs>
              <a:gs pos="74000">
                <a:srgbClr val="2A6DB4">
                  <a:lumMod val="100000"/>
                </a:srgbClr>
              </a:gs>
              <a:gs pos="100000">
                <a:srgbClr val="546FB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 dirty="0">
              <a:latin typeface="+mj-lt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3071" y="1972436"/>
            <a:ext cx="5965990" cy="5975204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>
            <a:gsLst>
              <a:gs pos="0">
                <a:srgbClr val="006AB4">
                  <a:alpha val="35000"/>
                </a:srgbClr>
              </a:gs>
              <a:gs pos="50000">
                <a:srgbClr val="2A6DB4">
                  <a:lumMod val="100000"/>
                  <a:alpha val="35000"/>
                </a:srgbClr>
              </a:gs>
              <a:gs pos="100000">
                <a:srgbClr val="546FB4">
                  <a:alpha val="35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 dirty="0">
              <a:latin typeface="+mj-lt"/>
            </a:endParaRPr>
          </a:p>
        </p:txBody>
      </p:sp>
      <p:sp>
        <p:nvSpPr>
          <p:cNvPr id="7" name="Текст 11">
            <a:extLst>
              <a:ext uri="{FF2B5EF4-FFF2-40B4-BE49-F238E27FC236}">
                <a16:creationId xmlns:a16="http://schemas.microsoft.com/office/drawing/2014/main" id="{D6516616-AB8E-204B-87E6-7EFABE4BB5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0272" y="1698899"/>
            <a:ext cx="6735112" cy="4295152"/>
          </a:xfrm>
          <a:noFill/>
        </p:spPr>
        <p:txBody>
          <a:bodyPr tIns="0" bIns="0" anchor="t">
            <a:noAutofit/>
          </a:bodyPr>
          <a:lstStyle>
            <a:lvl1pPr marL="0" indent="0" algn="l">
              <a:buNone/>
              <a:defRPr sz="4077" b="0" spc="-191" baseline="0">
                <a:solidFill>
                  <a:schemeClr val="bg1"/>
                </a:solidFill>
                <a:latin typeface="+mj-lt"/>
                <a:ea typeface="Stem Bold" panose="020B0703020203020204" pitchFamily="34" charset="-52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названия</a:t>
            </a:r>
            <a:br>
              <a:rPr lang="ru-RU" dirty="0"/>
            </a:br>
            <a:r>
              <a:rPr lang="ru-RU" dirty="0"/>
              <a:t>нов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3089087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тем темный c пиктограммой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 flip="none" rotWithShape="1">
            <a:gsLst>
              <a:gs pos="0">
                <a:srgbClr val="006AB4"/>
              </a:gs>
              <a:gs pos="74000">
                <a:srgbClr val="2A6DB4">
                  <a:lumMod val="100000"/>
                </a:srgbClr>
              </a:gs>
              <a:gs pos="100000">
                <a:srgbClr val="546FB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 dirty="0">
              <a:latin typeface="+mj-lt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574" y="1972436"/>
            <a:ext cx="5962487" cy="5971696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>
            <a:gsLst>
              <a:gs pos="0">
                <a:srgbClr val="006AB4">
                  <a:alpha val="35000"/>
                </a:srgbClr>
              </a:gs>
              <a:gs pos="50000">
                <a:srgbClr val="2A6DB4">
                  <a:lumMod val="100000"/>
                  <a:alpha val="35000"/>
                </a:srgbClr>
              </a:gs>
              <a:gs pos="100000">
                <a:srgbClr val="546FB4">
                  <a:alpha val="35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 dirty="0">
              <a:latin typeface="+mj-lt"/>
            </a:endParaRPr>
          </a:p>
        </p:txBody>
      </p:sp>
      <p:sp>
        <p:nvSpPr>
          <p:cNvPr id="6" name="Текст 11">
            <a:extLst>
              <a:ext uri="{FF2B5EF4-FFF2-40B4-BE49-F238E27FC236}">
                <a16:creationId xmlns:a16="http://schemas.microsoft.com/office/drawing/2014/main" id="{2C65667E-8835-C54E-B22B-44BEE364F6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0272" y="1698899"/>
            <a:ext cx="6735112" cy="4295152"/>
          </a:xfrm>
          <a:noFill/>
        </p:spPr>
        <p:txBody>
          <a:bodyPr tIns="0" bIns="0" anchor="t">
            <a:noAutofit/>
          </a:bodyPr>
          <a:lstStyle>
            <a:lvl1pPr marL="0" indent="0" algn="l">
              <a:buNone/>
              <a:defRPr sz="4077" b="0" spc="-191" baseline="0">
                <a:solidFill>
                  <a:schemeClr val="bg1"/>
                </a:solidFill>
                <a:latin typeface="+mj-lt"/>
                <a:ea typeface="Stem Bold" panose="020B0703020203020204" pitchFamily="34" charset="-52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названия</a:t>
            </a:r>
            <a:br>
              <a:rPr lang="ru-RU" dirty="0"/>
            </a:br>
            <a:r>
              <a:rPr lang="ru-RU" dirty="0"/>
              <a:t>нов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3558727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тем темный c пиктограммой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 flip="none" rotWithShape="1">
            <a:gsLst>
              <a:gs pos="0">
                <a:srgbClr val="006AB4"/>
              </a:gs>
              <a:gs pos="74000">
                <a:srgbClr val="2A6DB4">
                  <a:lumMod val="100000"/>
                </a:srgbClr>
              </a:gs>
              <a:gs pos="100000">
                <a:srgbClr val="546FB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 dirty="0">
              <a:latin typeface="+mj-lt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575" y="1661664"/>
            <a:ext cx="6063300" cy="607266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>
            <a:gsLst>
              <a:gs pos="0">
                <a:srgbClr val="006AB4">
                  <a:alpha val="35000"/>
                </a:srgbClr>
              </a:gs>
              <a:gs pos="50000">
                <a:srgbClr val="2A6DB4">
                  <a:lumMod val="100000"/>
                  <a:alpha val="35000"/>
                </a:srgbClr>
              </a:gs>
              <a:gs pos="100000">
                <a:srgbClr val="546FB4">
                  <a:alpha val="35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 dirty="0">
              <a:latin typeface="+mj-lt"/>
            </a:endParaRPr>
          </a:p>
        </p:txBody>
      </p:sp>
      <p:sp>
        <p:nvSpPr>
          <p:cNvPr id="6" name="Текст 11">
            <a:extLst>
              <a:ext uri="{FF2B5EF4-FFF2-40B4-BE49-F238E27FC236}">
                <a16:creationId xmlns:a16="http://schemas.microsoft.com/office/drawing/2014/main" id="{40CFDE77-1E08-6A4A-877C-FA4A93B153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0272" y="1698899"/>
            <a:ext cx="6735112" cy="4295152"/>
          </a:xfrm>
          <a:noFill/>
        </p:spPr>
        <p:txBody>
          <a:bodyPr tIns="0" bIns="0" anchor="t">
            <a:noAutofit/>
          </a:bodyPr>
          <a:lstStyle>
            <a:lvl1pPr marL="0" indent="0" algn="l">
              <a:buNone/>
              <a:defRPr sz="4077" b="0" spc="-191" baseline="0">
                <a:solidFill>
                  <a:schemeClr val="bg1"/>
                </a:solidFill>
                <a:latin typeface="+mj-lt"/>
                <a:ea typeface="Stem Bold" panose="020B0703020203020204" pitchFamily="34" charset="-52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названия</a:t>
            </a:r>
            <a:br>
              <a:rPr lang="ru-RU" dirty="0"/>
            </a:br>
            <a:r>
              <a:rPr lang="ru-RU" dirty="0"/>
              <a:t>нов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325682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 тем темный c пиктограммой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 flip="none" rotWithShape="1">
            <a:gsLst>
              <a:gs pos="0">
                <a:srgbClr val="006AB4"/>
              </a:gs>
              <a:gs pos="74000">
                <a:srgbClr val="2A6DB4">
                  <a:lumMod val="100000"/>
                </a:srgbClr>
              </a:gs>
              <a:gs pos="100000">
                <a:srgbClr val="546FB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 dirty="0">
              <a:latin typeface="+mj-lt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5261" y="1956128"/>
            <a:ext cx="6063300" cy="607266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0" y="0"/>
            <a:ext cx="15532100" cy="8750300"/>
          </a:xfrm>
          <a:prstGeom prst="rect">
            <a:avLst/>
          </a:prstGeom>
          <a:gradFill>
            <a:gsLst>
              <a:gs pos="0">
                <a:srgbClr val="006AB4">
                  <a:alpha val="35000"/>
                </a:srgbClr>
              </a:gs>
              <a:gs pos="50000">
                <a:srgbClr val="2A6DB4">
                  <a:lumMod val="100000"/>
                  <a:alpha val="35000"/>
                </a:srgbClr>
              </a:gs>
              <a:gs pos="100000">
                <a:srgbClr val="546FB4">
                  <a:alpha val="35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 dirty="0">
              <a:latin typeface="+mj-lt"/>
            </a:endParaRPr>
          </a:p>
        </p:txBody>
      </p:sp>
      <p:sp>
        <p:nvSpPr>
          <p:cNvPr id="6" name="Текст 11">
            <a:extLst>
              <a:ext uri="{FF2B5EF4-FFF2-40B4-BE49-F238E27FC236}">
                <a16:creationId xmlns:a16="http://schemas.microsoft.com/office/drawing/2014/main" id="{3C2E537F-90E3-1445-B025-FFFF698E10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0272" y="1698899"/>
            <a:ext cx="6735112" cy="4295152"/>
          </a:xfrm>
          <a:noFill/>
        </p:spPr>
        <p:txBody>
          <a:bodyPr tIns="0" bIns="0" anchor="t">
            <a:noAutofit/>
          </a:bodyPr>
          <a:lstStyle>
            <a:lvl1pPr marL="0" indent="0" algn="l">
              <a:buNone/>
              <a:defRPr sz="4077" b="0" spc="-191" baseline="0">
                <a:solidFill>
                  <a:schemeClr val="bg1"/>
                </a:solidFill>
                <a:latin typeface="+mj-lt"/>
                <a:ea typeface="Stem Bold" panose="020B0703020203020204" pitchFamily="34" charset="-52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названия</a:t>
            </a:r>
            <a:br>
              <a:rPr lang="ru-RU" dirty="0"/>
            </a:br>
            <a:r>
              <a:rPr lang="ru-RU" dirty="0"/>
              <a:t>нов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3517135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356780" y="2119064"/>
            <a:ext cx="813008" cy="814264"/>
          </a:xfrm>
          <a:prstGeom prst="rect">
            <a:avLst/>
          </a:prstGeom>
          <a:solidFill>
            <a:srgbClr val="004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8" name="Прямоугольник 7"/>
          <p:cNvSpPr/>
          <p:nvPr/>
        </p:nvSpPr>
        <p:spPr>
          <a:xfrm>
            <a:off x="2356779" y="3030553"/>
            <a:ext cx="813008" cy="8142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9" name="Прямоугольник 8"/>
          <p:cNvSpPr/>
          <p:nvPr/>
        </p:nvSpPr>
        <p:spPr>
          <a:xfrm>
            <a:off x="2356778" y="3942043"/>
            <a:ext cx="813008" cy="814264"/>
          </a:xfrm>
          <a:prstGeom prst="rect">
            <a:avLst/>
          </a:prstGeom>
          <a:solidFill>
            <a:srgbClr val="0065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0" name="Прямоугольник 9"/>
          <p:cNvSpPr/>
          <p:nvPr/>
        </p:nvSpPr>
        <p:spPr>
          <a:xfrm>
            <a:off x="3291133" y="3030553"/>
            <a:ext cx="813008" cy="81426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1" name="Прямоугольник 10"/>
          <p:cNvSpPr/>
          <p:nvPr/>
        </p:nvSpPr>
        <p:spPr>
          <a:xfrm>
            <a:off x="3291133" y="3942043"/>
            <a:ext cx="813008" cy="81426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2" name="Прямоугольник 11"/>
          <p:cNvSpPr/>
          <p:nvPr/>
        </p:nvSpPr>
        <p:spPr>
          <a:xfrm>
            <a:off x="4225489" y="3942043"/>
            <a:ext cx="813008" cy="814264"/>
          </a:xfrm>
          <a:prstGeom prst="rect">
            <a:avLst/>
          </a:prstGeom>
          <a:solidFill>
            <a:schemeClr val="accent6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3" name="Прямоугольник 12"/>
          <p:cNvSpPr/>
          <p:nvPr/>
        </p:nvSpPr>
        <p:spPr>
          <a:xfrm>
            <a:off x="3291133" y="4853532"/>
            <a:ext cx="813008" cy="8142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4" name="Прямоугольник 13"/>
          <p:cNvSpPr/>
          <p:nvPr/>
        </p:nvSpPr>
        <p:spPr>
          <a:xfrm>
            <a:off x="4225487" y="4853532"/>
            <a:ext cx="813008" cy="8142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5" name="Прямоугольник 14"/>
          <p:cNvSpPr/>
          <p:nvPr/>
        </p:nvSpPr>
        <p:spPr>
          <a:xfrm>
            <a:off x="4225487" y="5765022"/>
            <a:ext cx="813008" cy="814264"/>
          </a:xfrm>
          <a:prstGeom prst="rect">
            <a:avLst/>
          </a:prstGeom>
          <a:solidFill>
            <a:schemeClr val="accent6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6" name="Прямоугольник 15"/>
          <p:cNvSpPr/>
          <p:nvPr/>
        </p:nvSpPr>
        <p:spPr>
          <a:xfrm>
            <a:off x="1422422" y="3942043"/>
            <a:ext cx="813008" cy="814264"/>
          </a:xfrm>
          <a:prstGeom prst="rect">
            <a:avLst/>
          </a:prstGeom>
          <a:solidFill>
            <a:srgbClr val="004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7" name="Прямоугольник 16"/>
          <p:cNvSpPr/>
          <p:nvPr/>
        </p:nvSpPr>
        <p:spPr>
          <a:xfrm>
            <a:off x="5159844" y="3942041"/>
            <a:ext cx="813008" cy="814264"/>
          </a:xfrm>
          <a:prstGeom prst="rect">
            <a:avLst/>
          </a:prstGeom>
          <a:solidFill>
            <a:schemeClr val="accent6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9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6123865" y="3909633"/>
            <a:ext cx="7834802" cy="1130247"/>
          </a:xfrm>
          <a:noFill/>
        </p:spPr>
        <p:txBody>
          <a:bodyPr tIns="0" bIns="0" anchor="t">
            <a:normAutofit/>
          </a:bodyPr>
          <a:lstStyle>
            <a:lvl1pPr marL="0" indent="0">
              <a:buNone/>
              <a:defRPr sz="2548" b="1" baseline="0">
                <a:solidFill>
                  <a:srgbClr val="006AB4"/>
                </a:solidFill>
                <a:latin typeface="+mj-lt"/>
                <a:ea typeface="Stem Bold" panose="020B0703020203020204" pitchFamily="34" charset="-52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ДЛИННОГО НАЗВАНИЯ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ПРЕЗЕНТАЦИИ 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2" hasCustomPrompt="1"/>
          </p:nvPr>
        </p:nvSpPr>
        <p:spPr>
          <a:xfrm>
            <a:off x="6123865" y="6490162"/>
            <a:ext cx="7834802" cy="705403"/>
          </a:xfrm>
        </p:spPr>
        <p:txBody>
          <a:bodyPr tIns="0" bIns="0" anchor="t">
            <a:noAutofit/>
          </a:bodyPr>
          <a:lstStyle>
            <a:lvl1pPr marL="0" indent="0" algn="l">
              <a:buNone/>
              <a:defRPr sz="1529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582473" indent="0">
              <a:buNone/>
              <a:defRPr sz="2293">
                <a:solidFill>
                  <a:srgbClr val="004379"/>
                </a:solidFill>
                <a:latin typeface="+mj-lt"/>
              </a:defRPr>
            </a:lvl2pPr>
            <a:lvl3pPr marL="1164946" indent="0">
              <a:buNone/>
              <a:defRPr sz="2038">
                <a:solidFill>
                  <a:srgbClr val="004379"/>
                </a:solidFill>
                <a:latin typeface="+mj-lt"/>
              </a:defRPr>
            </a:lvl3pPr>
            <a:lvl4pPr marL="1747418" indent="0">
              <a:buNone/>
              <a:defRPr sz="1784">
                <a:solidFill>
                  <a:srgbClr val="004379"/>
                </a:solidFill>
                <a:latin typeface="+mj-lt"/>
              </a:defRPr>
            </a:lvl4pPr>
            <a:lvl5pPr marL="2329891" indent="0">
              <a:buNone/>
              <a:defRPr sz="1784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ДЕПАРТАМЕНТА ИЛИ ПОДРАЗДЕЛЕНИЯ</a:t>
            </a:r>
            <a:r>
              <a:rPr lang="en-US" dirty="0"/>
              <a:t> </a:t>
            </a:r>
            <a:r>
              <a:rPr lang="ru-RU" dirty="0"/>
              <a:t>И ГОД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3169927" y="1816571"/>
            <a:ext cx="813008" cy="814264"/>
          </a:xfrm>
          <a:prstGeom prst="rect">
            <a:avLst/>
          </a:prstGeom>
          <a:solidFill>
            <a:srgbClr val="004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3" name="Прямоугольник 22"/>
          <p:cNvSpPr/>
          <p:nvPr/>
        </p:nvSpPr>
        <p:spPr>
          <a:xfrm>
            <a:off x="12247709" y="1816570"/>
            <a:ext cx="813008" cy="814264"/>
          </a:xfrm>
          <a:prstGeom prst="rect">
            <a:avLst/>
          </a:prstGeom>
          <a:solidFill>
            <a:srgbClr val="0065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4" name="Прямоугольник 23"/>
          <p:cNvSpPr/>
          <p:nvPr/>
        </p:nvSpPr>
        <p:spPr>
          <a:xfrm>
            <a:off x="11325490" y="1816570"/>
            <a:ext cx="813008" cy="814264"/>
          </a:xfrm>
          <a:prstGeom prst="rect">
            <a:avLst/>
          </a:prstGeom>
          <a:solidFill>
            <a:srgbClr val="2A9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5" name="Прямоугольник 24"/>
          <p:cNvSpPr/>
          <p:nvPr/>
        </p:nvSpPr>
        <p:spPr>
          <a:xfrm>
            <a:off x="10403272" y="1816572"/>
            <a:ext cx="813008" cy="814264"/>
          </a:xfrm>
          <a:prstGeom prst="rect">
            <a:avLst/>
          </a:prstGeom>
          <a:solidFill>
            <a:srgbClr val="8FC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7" name="Текст 20"/>
          <p:cNvSpPr>
            <a:spLocks noGrp="1"/>
          </p:cNvSpPr>
          <p:nvPr>
            <p:ph type="body" sz="quarter" idx="16" hasCustomPrompt="1"/>
          </p:nvPr>
        </p:nvSpPr>
        <p:spPr>
          <a:xfrm>
            <a:off x="6123863" y="5268764"/>
            <a:ext cx="7859072" cy="680412"/>
          </a:xfrm>
        </p:spPr>
        <p:txBody>
          <a:bodyPr tIns="0" bIns="0" anchor="t">
            <a:noAutofit/>
          </a:bodyPr>
          <a:lstStyle>
            <a:lvl1pPr marL="0" indent="0" algn="l">
              <a:buNone/>
              <a:defRPr sz="1529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582473" indent="0">
              <a:buNone/>
              <a:defRPr sz="2293">
                <a:solidFill>
                  <a:srgbClr val="004379"/>
                </a:solidFill>
                <a:latin typeface="+mj-lt"/>
              </a:defRPr>
            </a:lvl2pPr>
            <a:lvl3pPr marL="1164946" indent="0">
              <a:buNone/>
              <a:defRPr sz="2038">
                <a:solidFill>
                  <a:srgbClr val="004379"/>
                </a:solidFill>
                <a:latin typeface="+mj-lt"/>
              </a:defRPr>
            </a:lvl3pPr>
            <a:lvl4pPr marL="1747418" indent="0">
              <a:buNone/>
              <a:defRPr sz="1784">
                <a:solidFill>
                  <a:srgbClr val="004379"/>
                </a:solidFill>
                <a:latin typeface="+mj-lt"/>
              </a:defRPr>
            </a:lvl4pPr>
            <a:lvl5pPr marL="2329891" indent="0">
              <a:buNone/>
              <a:defRPr sz="1784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СОПРОВОДИТЕЛЬНЫЙ КОММЕНТАРИЙ ПО ТЕМЕ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2947" y="949053"/>
            <a:ext cx="3536506" cy="748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15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01">
          <p15:clr>
            <a:srgbClr val="547EBF"/>
          </p15:clr>
        </p15:guide>
        <p15:guide id="2" pos="6902">
          <p15:clr>
            <a:srgbClr val="547EBF"/>
          </p15:clr>
        </p15:guide>
        <p15:guide id="3" orient="horz" pos="731">
          <p15:clr>
            <a:srgbClr val="547EBF"/>
          </p15:clr>
        </p15:guide>
        <p15:guide id="5" orient="horz" pos="3748">
          <p15:clr>
            <a:srgbClr val="547EBF"/>
          </p15:clr>
        </p15:guide>
        <p15:guide id="6" orient="horz" pos="104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вободного на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6806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>
          <p15:clr>
            <a:srgbClr val="547EBF"/>
          </p15:clr>
        </p15:guide>
        <p15:guide id="2" orient="horz" pos="3952">
          <p15:clr>
            <a:srgbClr val="547EBF"/>
          </p15:clr>
        </p15:guide>
        <p15:guide id="3" pos="756">
          <p15:clr>
            <a:srgbClr val="547EBF"/>
          </p15:clr>
        </p15:guide>
        <p15:guide id="4" pos="6947">
          <p15:clr>
            <a:srgbClr val="547EB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1 текстовым бло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1391418" y="1756138"/>
            <a:ext cx="12658258" cy="6248767"/>
          </a:xfrm>
        </p:spPr>
        <p:txBody>
          <a:bodyPr>
            <a:normAutofit/>
          </a:bodyPr>
          <a:lstStyle>
            <a:lvl1pPr marL="364046" indent="-364046">
              <a:buClr>
                <a:srgbClr val="407AA8"/>
              </a:buClr>
              <a:buFont typeface="Wingdings" panose="05000000000000000000" pitchFamily="2" charset="2"/>
              <a:buChar char="§"/>
              <a:defRPr sz="1784" baseline="0"/>
            </a:lvl1pPr>
            <a:lvl2pPr>
              <a:defRPr sz="1784"/>
            </a:lvl2pPr>
            <a:lvl3pPr>
              <a:defRPr sz="1784"/>
            </a:lvl3pPr>
            <a:lvl4pPr>
              <a:defRPr sz="1784"/>
            </a:lvl4pPr>
            <a:lvl5pPr>
              <a:defRPr sz="1784"/>
            </a:lvl5pPr>
          </a:lstStyle>
          <a:p>
            <a:r>
              <a:rPr lang="ru-RU" dirty="0"/>
              <a:t>Вставьте или напишите текст</a:t>
            </a:r>
          </a:p>
          <a:p>
            <a:endParaRPr lang="ru-RU" dirty="0"/>
          </a:p>
          <a:p>
            <a:r>
              <a:rPr lang="ru-RU" dirty="0"/>
              <a:t>Допускается использование маркеров:</a:t>
            </a:r>
          </a:p>
          <a:p>
            <a:endParaRPr lang="ru-RU" dirty="0"/>
          </a:p>
          <a:p>
            <a:pPr marL="285750" indent="-285750">
              <a:buClr>
                <a:srgbClr val="3DAAD5"/>
              </a:buClr>
              <a:buFont typeface="Wingdings" panose="05000000000000000000" pitchFamily="2" charset="2"/>
              <a:buChar char="§"/>
            </a:pPr>
            <a:r>
              <a:rPr lang="ru-RU" dirty="0"/>
              <a:t>Первый</a:t>
            </a:r>
          </a:p>
          <a:p>
            <a:pPr marL="285750" indent="-285750">
              <a:buClr>
                <a:srgbClr val="0268D6"/>
              </a:buClr>
              <a:buFont typeface="Wingdings" panose="05000000000000000000" pitchFamily="2" charset="2"/>
              <a:buChar char="§"/>
            </a:pPr>
            <a:r>
              <a:rPr lang="ru-RU" dirty="0"/>
              <a:t>Второй</a:t>
            </a:r>
          </a:p>
          <a:p>
            <a:pPr marL="285750" indent="-285750">
              <a:buClr>
                <a:srgbClr val="407AA8"/>
              </a:buClr>
              <a:buFont typeface="Wingdings" panose="05000000000000000000" pitchFamily="2" charset="2"/>
              <a:buChar char="§"/>
            </a:pPr>
            <a:r>
              <a:rPr lang="ru-RU" dirty="0"/>
              <a:t>Третий</a:t>
            </a:r>
          </a:p>
          <a:p>
            <a:pPr lvl="0"/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15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16828819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2 текстовыми бло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1391418" y="1756138"/>
            <a:ext cx="6385419" cy="6248767"/>
          </a:xfrm>
        </p:spPr>
        <p:txBody>
          <a:bodyPr>
            <a:normAutofit/>
          </a:bodyPr>
          <a:lstStyle>
            <a:lvl1pPr marL="364046" indent="-364046">
              <a:buClr>
                <a:srgbClr val="407AA8"/>
              </a:buClr>
              <a:buFont typeface="Wingdings" panose="05000000000000000000" pitchFamily="2" charset="2"/>
              <a:buChar char="§"/>
              <a:defRPr sz="1784" baseline="0"/>
            </a:lvl1pPr>
            <a:lvl2pPr>
              <a:defRPr sz="1784"/>
            </a:lvl2pPr>
            <a:lvl3pPr>
              <a:defRPr sz="1784"/>
            </a:lvl3pPr>
            <a:lvl4pPr>
              <a:defRPr sz="1784"/>
            </a:lvl4pPr>
            <a:lvl5pPr>
              <a:defRPr sz="1784"/>
            </a:lvl5pPr>
          </a:lstStyle>
          <a:p>
            <a:r>
              <a:rPr lang="ru-RU" dirty="0"/>
              <a:t>Вставьте или напишите текст</a:t>
            </a:r>
          </a:p>
          <a:p>
            <a:endParaRPr lang="ru-RU" dirty="0"/>
          </a:p>
          <a:p>
            <a:r>
              <a:rPr lang="ru-RU" dirty="0"/>
              <a:t>Допускается использование маркеров:</a:t>
            </a:r>
          </a:p>
          <a:p>
            <a:endParaRPr lang="ru-RU" dirty="0"/>
          </a:p>
          <a:p>
            <a:pPr marL="285750" indent="-285750">
              <a:buClr>
                <a:srgbClr val="3DAAD5"/>
              </a:buClr>
              <a:buFont typeface="Wingdings" panose="05000000000000000000" pitchFamily="2" charset="2"/>
              <a:buChar char="§"/>
            </a:pPr>
            <a:r>
              <a:rPr lang="ru-RU" dirty="0"/>
              <a:t>Первый</a:t>
            </a:r>
          </a:p>
          <a:p>
            <a:pPr marL="285750" indent="-285750">
              <a:buClr>
                <a:srgbClr val="0268D6"/>
              </a:buClr>
              <a:buFont typeface="Wingdings" panose="05000000000000000000" pitchFamily="2" charset="2"/>
              <a:buChar char="§"/>
            </a:pPr>
            <a:r>
              <a:rPr lang="ru-RU" dirty="0"/>
              <a:t>Второй</a:t>
            </a:r>
          </a:p>
          <a:p>
            <a:pPr marL="285750" indent="-285750">
              <a:buClr>
                <a:srgbClr val="407AA8"/>
              </a:buClr>
              <a:buFont typeface="Wingdings" panose="05000000000000000000" pitchFamily="2" charset="2"/>
              <a:buChar char="§"/>
            </a:pPr>
            <a:r>
              <a:rPr lang="ru-RU" dirty="0"/>
              <a:t>Третий</a:t>
            </a:r>
          </a:p>
          <a:p>
            <a:pPr lvl="0"/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8024159" y="1756138"/>
            <a:ext cx="6385419" cy="6248767"/>
          </a:xfrm>
        </p:spPr>
        <p:txBody>
          <a:bodyPr>
            <a:normAutofit/>
          </a:bodyPr>
          <a:lstStyle>
            <a:lvl1pPr marL="364046" indent="-364046">
              <a:buClr>
                <a:srgbClr val="407AA8"/>
              </a:buClr>
              <a:buFont typeface="Wingdings" panose="05000000000000000000" pitchFamily="2" charset="2"/>
              <a:buChar char="§"/>
              <a:defRPr sz="1784" baseline="0"/>
            </a:lvl1pPr>
            <a:lvl2pPr>
              <a:defRPr sz="1784"/>
            </a:lvl2pPr>
            <a:lvl3pPr>
              <a:defRPr sz="1784"/>
            </a:lvl3pPr>
            <a:lvl4pPr>
              <a:defRPr sz="1784"/>
            </a:lvl4pPr>
            <a:lvl5pPr>
              <a:defRPr sz="1784"/>
            </a:lvl5pPr>
          </a:lstStyle>
          <a:p>
            <a:r>
              <a:rPr lang="ru-RU" dirty="0"/>
              <a:t>Вставьте или напишите текст</a:t>
            </a:r>
          </a:p>
          <a:p>
            <a:endParaRPr lang="ru-RU" dirty="0"/>
          </a:p>
          <a:p>
            <a:r>
              <a:rPr lang="ru-RU" dirty="0"/>
              <a:t>Допускается использование маркеров:</a:t>
            </a:r>
          </a:p>
          <a:p>
            <a:endParaRPr lang="ru-RU" dirty="0"/>
          </a:p>
          <a:p>
            <a:pPr marL="285750" indent="-285750">
              <a:buClr>
                <a:srgbClr val="3DAAD5"/>
              </a:buClr>
              <a:buFont typeface="Wingdings" panose="05000000000000000000" pitchFamily="2" charset="2"/>
              <a:buChar char="§"/>
            </a:pPr>
            <a:r>
              <a:rPr lang="ru-RU" dirty="0"/>
              <a:t>Первый</a:t>
            </a:r>
          </a:p>
          <a:p>
            <a:pPr marL="285750" indent="-285750">
              <a:buClr>
                <a:srgbClr val="0268D6"/>
              </a:buClr>
              <a:buFont typeface="Wingdings" panose="05000000000000000000" pitchFamily="2" charset="2"/>
              <a:buChar char="§"/>
            </a:pPr>
            <a:r>
              <a:rPr lang="ru-RU" dirty="0"/>
              <a:t>Второй</a:t>
            </a:r>
          </a:p>
          <a:p>
            <a:pPr marL="285750" indent="-285750">
              <a:buClr>
                <a:srgbClr val="407AA8"/>
              </a:buClr>
              <a:buFont typeface="Wingdings" panose="05000000000000000000" pitchFamily="2" charset="2"/>
              <a:buChar char="§"/>
            </a:pPr>
            <a:r>
              <a:rPr lang="ru-RU" dirty="0"/>
              <a:t>Третий</a:t>
            </a:r>
          </a:p>
          <a:p>
            <a:pPr lvl="0"/>
            <a:endParaRPr lang="ru-RU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V="1">
            <a:off x="7903408" y="2007970"/>
            <a:ext cx="0" cy="5792572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17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30647179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одним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1995919"/>
              </p:ext>
            </p:extLst>
          </p:nvPr>
        </p:nvGraphicFramePr>
        <p:xfrm>
          <a:off x="2023" y="2026"/>
          <a:ext cx="2023" cy="20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23" y="2026"/>
                        <a:ext cx="2023" cy="20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02241" cy="2025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67" b="0" i="0" baseline="0" dirty="0">
              <a:latin typeface="Arial Black" panose="020B0A04020102020204" pitchFamily="34" charset="0"/>
              <a:ea typeface="Roboto Medium" panose="02000000000000000000" pitchFamily="2" charset="0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3" y="523365"/>
            <a:ext cx="6191915" cy="99388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br>
              <a:rPr lang="ru-RU" dirty="0"/>
            </a:br>
            <a:r>
              <a:rPr lang="ru-RU" dirty="0"/>
              <a:t>в этом поле. </a:t>
            </a: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8154352" y="564305"/>
            <a:ext cx="135455" cy="7440600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0" hasCustomPrompt="1"/>
          </p:nvPr>
        </p:nvSpPr>
        <p:spPr>
          <a:xfrm>
            <a:off x="8283787" y="564302"/>
            <a:ext cx="6821586" cy="7440603"/>
          </a:xfrm>
          <a:ln>
            <a:noFill/>
          </a:ln>
        </p:spPr>
        <p:txBody>
          <a:bodyPr tIns="720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в слайд.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1" hasCustomPrompt="1"/>
          </p:nvPr>
        </p:nvSpPr>
        <p:spPr>
          <a:xfrm>
            <a:off x="1399502" y="2007821"/>
            <a:ext cx="6176437" cy="5997084"/>
          </a:xfrm>
        </p:spPr>
        <p:txBody>
          <a:bodyPr>
            <a:normAutofit/>
          </a:bodyPr>
          <a:lstStyle>
            <a:lvl1pPr marL="364046" indent="-364046">
              <a:buClr>
                <a:srgbClr val="407AA8"/>
              </a:buClr>
              <a:buFont typeface="Wingdings" panose="05000000000000000000" pitchFamily="2" charset="2"/>
              <a:buChar char="§"/>
              <a:defRPr sz="1784" baseline="0"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Вставьте или напишите текст</a:t>
            </a:r>
          </a:p>
          <a:p>
            <a:endParaRPr lang="ru-RU" dirty="0"/>
          </a:p>
          <a:p>
            <a:r>
              <a:rPr lang="ru-RU" dirty="0"/>
              <a:t>Допускается использование маркеров:</a:t>
            </a:r>
          </a:p>
          <a:p>
            <a:endParaRPr lang="ru-RU" dirty="0"/>
          </a:p>
          <a:p>
            <a:pPr marL="285750" indent="-285750">
              <a:buClr>
                <a:srgbClr val="3DAAD5"/>
              </a:buClr>
              <a:buFont typeface="Wingdings" panose="05000000000000000000" pitchFamily="2" charset="2"/>
              <a:buChar char="§"/>
            </a:pPr>
            <a:r>
              <a:rPr lang="ru-RU" dirty="0"/>
              <a:t>Первый</a:t>
            </a:r>
          </a:p>
          <a:p>
            <a:pPr marL="285750" indent="-285750">
              <a:buClr>
                <a:srgbClr val="0268D6"/>
              </a:buClr>
              <a:buFont typeface="Wingdings" panose="05000000000000000000" pitchFamily="2" charset="2"/>
              <a:buChar char="§"/>
            </a:pPr>
            <a:r>
              <a:rPr lang="ru-RU" dirty="0"/>
              <a:t>Второй</a:t>
            </a:r>
          </a:p>
          <a:p>
            <a:pPr marL="285750" indent="-285750">
              <a:buClr>
                <a:srgbClr val="407AA8"/>
              </a:buClr>
              <a:buFont typeface="Wingdings" panose="05000000000000000000" pitchFamily="2" charset="2"/>
              <a:buChar char="§"/>
            </a:pPr>
            <a:r>
              <a:rPr lang="ru-RU" dirty="0"/>
              <a:t>Третий</a:t>
            </a:r>
          </a:p>
          <a:p>
            <a:pPr lvl="0"/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0917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orient="horz" pos="278">
          <p15:clr>
            <a:srgbClr val="547EBF"/>
          </p15:clr>
        </p15:guide>
        <p15:guide id="8" pos="7469">
          <p15:clr>
            <a:srgbClr val="547EBF"/>
          </p15:clr>
        </p15:guide>
        <p15:guide id="9" pos="756">
          <p15:clr>
            <a:srgbClr val="547EBF"/>
          </p15:clr>
        </p15:guide>
        <p15:guide id="10" orient="horz" pos="3952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двумя изображ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3" y="523365"/>
            <a:ext cx="6191915" cy="99388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br>
              <a:rPr lang="ru-RU" dirty="0"/>
            </a:b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8154352" y="559350"/>
            <a:ext cx="135455" cy="345120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10" hasCustomPrompt="1"/>
          </p:nvPr>
        </p:nvSpPr>
        <p:spPr>
          <a:xfrm>
            <a:off x="8274687" y="559350"/>
            <a:ext cx="6821586" cy="3451205"/>
          </a:xfrm>
          <a:ln>
            <a:noFill/>
          </a:ln>
        </p:spPr>
        <p:txBody>
          <a:bodyPr tIns="720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1 в слайд.</a:t>
            </a:r>
          </a:p>
        </p:txBody>
      </p:sp>
      <p:sp>
        <p:nvSpPr>
          <p:cNvPr id="12" name="Текст 18"/>
          <p:cNvSpPr>
            <a:spLocks noGrp="1"/>
          </p:cNvSpPr>
          <p:nvPr>
            <p:ph type="body" sz="quarter" idx="11" hasCustomPrompt="1"/>
          </p:nvPr>
        </p:nvSpPr>
        <p:spPr>
          <a:xfrm>
            <a:off x="1399502" y="2007821"/>
            <a:ext cx="6176437" cy="5997084"/>
          </a:xfrm>
        </p:spPr>
        <p:txBody>
          <a:bodyPr>
            <a:normAutofit/>
          </a:bodyPr>
          <a:lstStyle>
            <a:lvl1pPr marL="364046" indent="-364046">
              <a:buClr>
                <a:srgbClr val="407AA8"/>
              </a:buClr>
              <a:buFont typeface="Wingdings" panose="05000000000000000000" pitchFamily="2" charset="2"/>
              <a:buChar char="§"/>
              <a:defRPr sz="1784"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Слайд с одним крупным изображением.</a:t>
            </a:r>
          </a:p>
          <a:p>
            <a:r>
              <a:rPr lang="ru-RU" dirty="0"/>
              <a:t>Изображение обрезается по установленной форме.</a:t>
            </a:r>
          </a:p>
          <a:p>
            <a:endParaRPr lang="ru-RU" dirty="0"/>
          </a:p>
          <a:p>
            <a:r>
              <a:rPr lang="ru-RU" dirty="0"/>
              <a:t>В текстовый контейнер можно написать только текст, без артов и таблиц. Подобный вариант с таблицами в следующем разделе.</a:t>
            </a:r>
          </a:p>
          <a:p>
            <a:endParaRPr lang="ru-RU" dirty="0"/>
          </a:p>
          <a:p>
            <a:r>
              <a:rPr lang="ru-RU" dirty="0"/>
              <a:t>Допускается использование маркеров:</a:t>
            </a:r>
          </a:p>
          <a:p>
            <a:endParaRPr lang="ru-RU" dirty="0"/>
          </a:p>
          <a:p>
            <a:pPr marL="285750" indent="-285750">
              <a:buClr>
                <a:srgbClr val="3DAAD5"/>
              </a:buClr>
              <a:buFont typeface="Wingdings" panose="05000000000000000000" pitchFamily="2" charset="2"/>
              <a:buChar char="§"/>
            </a:pPr>
            <a:r>
              <a:rPr lang="ru-RU" dirty="0"/>
              <a:t>Первый</a:t>
            </a:r>
          </a:p>
          <a:p>
            <a:pPr marL="285750" indent="-285750">
              <a:buClr>
                <a:srgbClr val="0268D6"/>
              </a:buClr>
              <a:buFont typeface="Wingdings" panose="05000000000000000000" pitchFamily="2" charset="2"/>
              <a:buChar char="§"/>
            </a:pPr>
            <a:r>
              <a:rPr lang="ru-RU" dirty="0"/>
              <a:t>Второй</a:t>
            </a:r>
          </a:p>
          <a:p>
            <a:pPr marL="285750" indent="-285750">
              <a:buClr>
                <a:srgbClr val="407AA8"/>
              </a:buClr>
              <a:buFont typeface="Wingdings" panose="05000000000000000000" pitchFamily="2" charset="2"/>
              <a:buChar char="§"/>
            </a:pPr>
            <a:r>
              <a:rPr lang="ru-RU" dirty="0"/>
              <a:t>Третий</a:t>
            </a:r>
          </a:p>
          <a:p>
            <a:pPr lvl="0"/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12" hasCustomPrompt="1"/>
          </p:nvPr>
        </p:nvSpPr>
        <p:spPr>
          <a:xfrm>
            <a:off x="8277720" y="4555056"/>
            <a:ext cx="6821586" cy="3446252"/>
          </a:xfrm>
          <a:ln>
            <a:noFill/>
          </a:ln>
        </p:spPr>
        <p:txBody>
          <a:bodyPr tIns="720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2 в слайд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154352" y="4555056"/>
            <a:ext cx="135455" cy="345120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3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165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изображением и данны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8" name="Рисунок 17"/>
          <p:cNvSpPr>
            <a:spLocks noGrp="1"/>
          </p:cNvSpPr>
          <p:nvPr>
            <p:ph type="pic" sz="quarter" idx="10" hasCustomPrompt="1"/>
          </p:nvPr>
        </p:nvSpPr>
        <p:spPr>
          <a:xfrm>
            <a:off x="1528942" y="1987049"/>
            <a:ext cx="6006554" cy="5462859"/>
          </a:xfrm>
        </p:spPr>
        <p:txBody>
          <a:bodyPr tIns="720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в слайд</a:t>
            </a:r>
          </a:p>
        </p:txBody>
      </p:sp>
      <p:sp>
        <p:nvSpPr>
          <p:cNvPr id="22" name="Объект 21"/>
          <p:cNvSpPr>
            <a:spLocks noGrp="1"/>
          </p:cNvSpPr>
          <p:nvPr>
            <p:ph sz="quarter" idx="12" hasCustomPrompt="1"/>
          </p:nvPr>
        </p:nvSpPr>
        <p:spPr>
          <a:xfrm>
            <a:off x="8008739" y="1987049"/>
            <a:ext cx="7096633" cy="6015831"/>
          </a:xfrm>
        </p:spPr>
        <p:txBody>
          <a:bodyPr tIns="1620000" anchor="ctr">
            <a:normAutofit/>
          </a:bodyPr>
          <a:lstStyle>
            <a:lvl1pPr marL="0" indent="0" algn="ctr">
              <a:buNone/>
              <a:defRPr sz="2293" baseline="0">
                <a:latin typeface="Bliss Pro Light" panose="02000506050000020004" pitchFamily="50" charset="-52"/>
              </a:defRPr>
            </a:lvl1pPr>
            <a:lvl2pPr marL="582473" indent="0" algn="ctr">
              <a:buNone/>
              <a:defRPr sz="2293">
                <a:latin typeface="Bliss Pro Light" panose="02000506050000020004" pitchFamily="50" charset="-52"/>
              </a:defRPr>
            </a:lvl2pPr>
            <a:lvl3pPr marL="1164946" indent="0" algn="ctr">
              <a:buNone/>
              <a:defRPr sz="2293">
                <a:latin typeface="Bliss Pro Light" panose="02000506050000020004" pitchFamily="50" charset="-52"/>
              </a:defRPr>
            </a:lvl3pPr>
            <a:lvl4pPr marL="1747418" indent="0" algn="ctr">
              <a:buNone/>
              <a:defRPr sz="2293">
                <a:latin typeface="Bliss Pro Light" panose="02000506050000020004" pitchFamily="50" charset="-52"/>
              </a:defRPr>
            </a:lvl4pPr>
            <a:lvl5pPr marL="2329891" indent="0" algn="ctr">
              <a:buNone/>
              <a:defRPr sz="2293">
                <a:latin typeface="Bliss Pro Light" panose="02000506050000020004" pitchFamily="50" charset="-52"/>
              </a:defRPr>
            </a:lvl5pPr>
          </a:lstStyle>
          <a:p>
            <a:pPr lvl="0"/>
            <a:r>
              <a:rPr lang="ru-RU" dirty="0"/>
              <a:t>Вставьте необходимые данные:</a:t>
            </a:r>
          </a:p>
          <a:p>
            <a:pPr lvl="0"/>
            <a:r>
              <a:rPr lang="ru-RU" dirty="0"/>
              <a:t>Таблицы, диаграммы, графика «смарт-арт».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sz="quarter" idx="13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15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3571330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двумя изображениями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13" hasCustomPrompt="1"/>
          </p:nvPr>
        </p:nvSpPr>
        <p:spPr>
          <a:xfrm>
            <a:off x="1528942" y="1987049"/>
            <a:ext cx="5826618" cy="3046458"/>
          </a:xfrm>
          <a:ln>
            <a:noFill/>
          </a:ln>
        </p:spPr>
        <p:txBody>
          <a:bodyPr tIns="720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1 в слайд.</a:t>
            </a:r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14" hasCustomPrompt="1"/>
          </p:nvPr>
        </p:nvSpPr>
        <p:spPr>
          <a:xfrm>
            <a:off x="8192020" y="1987047"/>
            <a:ext cx="5826618" cy="3046458"/>
          </a:xfrm>
          <a:ln>
            <a:noFill/>
          </a:ln>
        </p:spPr>
        <p:txBody>
          <a:bodyPr tIns="720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</a:t>
            </a:r>
            <a:r>
              <a:rPr lang="en-US" dirty="0"/>
              <a:t>2</a:t>
            </a:r>
            <a:r>
              <a:rPr lang="ru-RU" dirty="0"/>
              <a:t> в слайд.</a:t>
            </a:r>
          </a:p>
        </p:txBody>
      </p:sp>
      <p:sp>
        <p:nvSpPr>
          <p:cNvPr id="18" name="Текст 18"/>
          <p:cNvSpPr>
            <a:spLocks noGrp="1"/>
          </p:cNvSpPr>
          <p:nvPr>
            <p:ph type="body" sz="quarter" idx="15" hasCustomPrompt="1"/>
          </p:nvPr>
        </p:nvSpPr>
        <p:spPr>
          <a:xfrm>
            <a:off x="1399502" y="5255735"/>
            <a:ext cx="5934484" cy="2749170"/>
          </a:xfrm>
        </p:spPr>
        <p:txBody>
          <a:bodyPr tIns="108000">
            <a:normAutofit/>
          </a:bodyPr>
          <a:lstStyle>
            <a:lvl1pPr marL="0" indent="0" algn="l">
              <a:buNone/>
              <a:defRPr sz="1784" baseline="0"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Добавьте пояснительный комментарий к изображению 1.</a:t>
            </a:r>
          </a:p>
        </p:txBody>
      </p:sp>
      <p:sp>
        <p:nvSpPr>
          <p:cNvPr id="20" name="Текст 18"/>
          <p:cNvSpPr>
            <a:spLocks noGrp="1"/>
          </p:cNvSpPr>
          <p:nvPr>
            <p:ph type="body" sz="quarter" idx="16" hasCustomPrompt="1"/>
          </p:nvPr>
        </p:nvSpPr>
        <p:spPr>
          <a:xfrm>
            <a:off x="8062581" y="5255733"/>
            <a:ext cx="5934484" cy="2749170"/>
          </a:xfrm>
        </p:spPr>
        <p:txBody>
          <a:bodyPr tIns="108000">
            <a:normAutofit/>
          </a:bodyPr>
          <a:lstStyle>
            <a:lvl1pPr marL="0" indent="0" algn="l">
              <a:buNone/>
              <a:defRPr sz="1784" baseline="0"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Добавьте пояснительный комментарий к изображению 2.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V="1">
            <a:off x="7775322" y="1987047"/>
            <a:ext cx="0" cy="5792572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22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2602130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изображением и диаграмм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вал 14"/>
          <p:cNvSpPr/>
          <p:nvPr/>
        </p:nvSpPr>
        <p:spPr>
          <a:xfrm>
            <a:off x="1295370" y="1765269"/>
            <a:ext cx="6449427" cy="6459388"/>
          </a:xfrm>
          <a:prstGeom prst="ellipse">
            <a:avLst/>
          </a:prstGeom>
          <a:noFill/>
          <a:ln w="38100"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6" name="Прямоугольник 15"/>
          <p:cNvSpPr/>
          <p:nvPr/>
        </p:nvSpPr>
        <p:spPr>
          <a:xfrm>
            <a:off x="533917" y="1652834"/>
            <a:ext cx="3967966" cy="6830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7" name="Овал 16"/>
          <p:cNvSpPr/>
          <p:nvPr/>
        </p:nvSpPr>
        <p:spPr>
          <a:xfrm>
            <a:off x="4262226" y="1643718"/>
            <a:ext cx="242689" cy="243064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8" name="Овал 17"/>
          <p:cNvSpPr/>
          <p:nvPr/>
        </p:nvSpPr>
        <p:spPr>
          <a:xfrm>
            <a:off x="4262226" y="8103236"/>
            <a:ext cx="242689" cy="243064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9" name="Прямоугольник 18"/>
          <p:cNvSpPr/>
          <p:nvPr/>
        </p:nvSpPr>
        <p:spPr>
          <a:xfrm>
            <a:off x="7621926" y="5845687"/>
            <a:ext cx="7364363" cy="66723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0" name="Овал 19"/>
          <p:cNvSpPr/>
          <p:nvPr/>
        </p:nvSpPr>
        <p:spPr>
          <a:xfrm>
            <a:off x="14869247" y="5753321"/>
            <a:ext cx="242689" cy="243064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2" name="Диаграмма 21"/>
          <p:cNvSpPr>
            <a:spLocks noGrp="1"/>
          </p:cNvSpPr>
          <p:nvPr>
            <p:ph type="chart" sz="quarter" idx="12"/>
          </p:nvPr>
        </p:nvSpPr>
        <p:spPr>
          <a:xfrm>
            <a:off x="8105816" y="1766265"/>
            <a:ext cx="6880474" cy="3714826"/>
          </a:xfrm>
        </p:spPr>
        <p:txBody>
          <a:bodyPr tIns="720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smtClean="0"/>
              <a:t>Вставка диаграммы</a:t>
            </a:r>
            <a:endParaRPr lang="ru-RU" dirty="0"/>
          </a:p>
        </p:txBody>
      </p:sp>
      <p:sp>
        <p:nvSpPr>
          <p:cNvPr id="23" name="Текст 18"/>
          <p:cNvSpPr>
            <a:spLocks noGrp="1"/>
          </p:cNvSpPr>
          <p:nvPr>
            <p:ph type="body" sz="quarter" idx="15" hasCustomPrompt="1"/>
          </p:nvPr>
        </p:nvSpPr>
        <p:spPr>
          <a:xfrm>
            <a:off x="8105816" y="6088752"/>
            <a:ext cx="6880474" cy="1889822"/>
          </a:xfrm>
        </p:spPr>
        <p:txBody>
          <a:bodyPr tIns="108000">
            <a:normAutofit/>
          </a:bodyPr>
          <a:lstStyle>
            <a:lvl1pPr marL="0" indent="0" algn="l">
              <a:buNone/>
              <a:defRPr sz="1784" baseline="0"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Добавьте пояснительный комментария к содержанию слайда.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16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Рисунок 13"/>
          <p:cNvSpPr>
            <a:spLocks noGrp="1"/>
          </p:cNvSpPr>
          <p:nvPr>
            <p:ph type="pic" sz="quarter" idx="10" hasCustomPrompt="1"/>
          </p:nvPr>
        </p:nvSpPr>
        <p:spPr>
          <a:xfrm>
            <a:off x="1528942" y="1987048"/>
            <a:ext cx="5982285" cy="5991525"/>
          </a:xfrm>
          <a:custGeom>
            <a:avLst/>
            <a:gdLst>
              <a:gd name="connsiteX0" fmla="*/ 2357438 w 4714875"/>
              <a:gd name="connsiteY0" fmla="*/ 0 h 4714875"/>
              <a:gd name="connsiteX1" fmla="*/ 4702705 w 4714875"/>
              <a:gd name="connsiteY1" fmla="*/ 2116404 h 4714875"/>
              <a:gd name="connsiteX2" fmla="*/ 4714875 w 4714875"/>
              <a:gd name="connsiteY2" fmla="*/ 2357417 h 4714875"/>
              <a:gd name="connsiteX3" fmla="*/ 4714875 w 4714875"/>
              <a:gd name="connsiteY3" fmla="*/ 2357459 h 4714875"/>
              <a:gd name="connsiteX4" fmla="*/ 4702705 w 4714875"/>
              <a:gd name="connsiteY4" fmla="*/ 2598473 h 4714875"/>
              <a:gd name="connsiteX5" fmla="*/ 2598473 w 4714875"/>
              <a:gd name="connsiteY5" fmla="*/ 4702705 h 4714875"/>
              <a:gd name="connsiteX6" fmla="*/ 2357459 w 4714875"/>
              <a:gd name="connsiteY6" fmla="*/ 4714875 h 4714875"/>
              <a:gd name="connsiteX7" fmla="*/ 2357417 w 4714875"/>
              <a:gd name="connsiteY7" fmla="*/ 4714875 h 4714875"/>
              <a:gd name="connsiteX8" fmla="*/ 2116404 w 4714875"/>
              <a:gd name="connsiteY8" fmla="*/ 4702705 h 4714875"/>
              <a:gd name="connsiteX9" fmla="*/ 0 w 4714875"/>
              <a:gd name="connsiteY9" fmla="*/ 2357438 h 4714875"/>
              <a:gd name="connsiteX10" fmla="*/ 2357438 w 4714875"/>
              <a:gd name="connsiteY10" fmla="*/ 0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4875" h="4714875">
                <a:moveTo>
                  <a:pt x="2357438" y="0"/>
                </a:moveTo>
                <a:cubicBezTo>
                  <a:pt x="3578042" y="0"/>
                  <a:pt x="4581981" y="927651"/>
                  <a:pt x="4702705" y="2116404"/>
                </a:cubicBezTo>
                <a:lnTo>
                  <a:pt x="4714875" y="2357417"/>
                </a:lnTo>
                <a:lnTo>
                  <a:pt x="4714875" y="2357459"/>
                </a:lnTo>
                <a:lnTo>
                  <a:pt x="4702705" y="2598473"/>
                </a:lnTo>
                <a:cubicBezTo>
                  <a:pt x="4590029" y="3707975"/>
                  <a:pt x="3707975" y="4590029"/>
                  <a:pt x="2598473" y="4702705"/>
                </a:cubicBezTo>
                <a:lnTo>
                  <a:pt x="2357459" y="4714875"/>
                </a:lnTo>
                <a:lnTo>
                  <a:pt x="2357417" y="4714875"/>
                </a:lnTo>
                <a:lnTo>
                  <a:pt x="2116404" y="4702705"/>
                </a:lnTo>
                <a:cubicBezTo>
                  <a:pt x="927651" y="4581981"/>
                  <a:pt x="0" y="3578042"/>
                  <a:pt x="0" y="2357438"/>
                </a:cubicBezTo>
                <a:cubicBezTo>
                  <a:pt x="0" y="1055461"/>
                  <a:pt x="1055461" y="0"/>
                  <a:pt x="2357438" y="0"/>
                </a:cubicBezTo>
                <a:close/>
              </a:path>
            </a:pathLst>
          </a:custGeom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в слайд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3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7296062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зображениями и последовательност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1528942" y="1803393"/>
            <a:ext cx="2536101" cy="2540018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4" name="Овал 13"/>
          <p:cNvSpPr/>
          <p:nvPr/>
        </p:nvSpPr>
        <p:spPr>
          <a:xfrm>
            <a:off x="4999395" y="1803392"/>
            <a:ext cx="2536101" cy="2540018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5" name="Овал 14"/>
          <p:cNvSpPr/>
          <p:nvPr/>
        </p:nvSpPr>
        <p:spPr>
          <a:xfrm>
            <a:off x="1497164" y="5018476"/>
            <a:ext cx="2536101" cy="2540018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9" name="Рисунок 18"/>
          <p:cNvSpPr>
            <a:spLocks noGrp="1"/>
          </p:cNvSpPr>
          <p:nvPr>
            <p:ph type="pic" sz="quarter" idx="10" hasCustomPrompt="1"/>
          </p:nvPr>
        </p:nvSpPr>
        <p:spPr>
          <a:xfrm>
            <a:off x="1680992" y="1958847"/>
            <a:ext cx="2232000" cy="2232000"/>
          </a:xfrm>
          <a:custGeom>
            <a:avLst/>
            <a:gdLst>
              <a:gd name="connsiteX0" fmla="*/ 2357438 w 4714875"/>
              <a:gd name="connsiteY0" fmla="*/ 0 h 4714875"/>
              <a:gd name="connsiteX1" fmla="*/ 4702705 w 4714875"/>
              <a:gd name="connsiteY1" fmla="*/ 2116404 h 4714875"/>
              <a:gd name="connsiteX2" fmla="*/ 4714875 w 4714875"/>
              <a:gd name="connsiteY2" fmla="*/ 2357417 h 4714875"/>
              <a:gd name="connsiteX3" fmla="*/ 4714875 w 4714875"/>
              <a:gd name="connsiteY3" fmla="*/ 2357459 h 4714875"/>
              <a:gd name="connsiteX4" fmla="*/ 4702705 w 4714875"/>
              <a:gd name="connsiteY4" fmla="*/ 2598473 h 4714875"/>
              <a:gd name="connsiteX5" fmla="*/ 2598473 w 4714875"/>
              <a:gd name="connsiteY5" fmla="*/ 4702705 h 4714875"/>
              <a:gd name="connsiteX6" fmla="*/ 2357459 w 4714875"/>
              <a:gd name="connsiteY6" fmla="*/ 4714875 h 4714875"/>
              <a:gd name="connsiteX7" fmla="*/ 2357417 w 4714875"/>
              <a:gd name="connsiteY7" fmla="*/ 4714875 h 4714875"/>
              <a:gd name="connsiteX8" fmla="*/ 2116404 w 4714875"/>
              <a:gd name="connsiteY8" fmla="*/ 4702705 h 4714875"/>
              <a:gd name="connsiteX9" fmla="*/ 0 w 4714875"/>
              <a:gd name="connsiteY9" fmla="*/ 2357438 h 4714875"/>
              <a:gd name="connsiteX10" fmla="*/ 2357438 w 4714875"/>
              <a:gd name="connsiteY10" fmla="*/ 0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4875" h="4714875">
                <a:moveTo>
                  <a:pt x="2357438" y="0"/>
                </a:moveTo>
                <a:cubicBezTo>
                  <a:pt x="3578042" y="0"/>
                  <a:pt x="4581981" y="927651"/>
                  <a:pt x="4702705" y="2116404"/>
                </a:cubicBezTo>
                <a:lnTo>
                  <a:pt x="4714875" y="2357417"/>
                </a:lnTo>
                <a:lnTo>
                  <a:pt x="4714875" y="2357459"/>
                </a:lnTo>
                <a:lnTo>
                  <a:pt x="4702705" y="2598473"/>
                </a:lnTo>
                <a:cubicBezTo>
                  <a:pt x="4590029" y="3707975"/>
                  <a:pt x="3707975" y="4590029"/>
                  <a:pt x="2598473" y="4702705"/>
                </a:cubicBezTo>
                <a:lnTo>
                  <a:pt x="2357459" y="4714875"/>
                </a:lnTo>
                <a:lnTo>
                  <a:pt x="2357417" y="4714875"/>
                </a:lnTo>
                <a:lnTo>
                  <a:pt x="2116404" y="4702705"/>
                </a:lnTo>
                <a:cubicBezTo>
                  <a:pt x="927651" y="4581981"/>
                  <a:pt x="0" y="3578042"/>
                  <a:pt x="0" y="2357438"/>
                </a:cubicBezTo>
                <a:cubicBezTo>
                  <a:pt x="0" y="1055461"/>
                  <a:pt x="1055461" y="0"/>
                  <a:pt x="2357438" y="0"/>
                </a:cubicBezTo>
                <a:close/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274" baseline="0">
                <a:solidFill>
                  <a:schemeClr val="bg1"/>
                </a:solidFill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</a:t>
            </a:r>
            <a:r>
              <a:rPr lang="en-US" dirty="0"/>
              <a:t> 1  </a:t>
            </a:r>
            <a:r>
              <a:rPr lang="ru-RU" dirty="0"/>
              <a:t> в слайд</a:t>
            </a:r>
          </a:p>
        </p:txBody>
      </p:sp>
      <p:sp>
        <p:nvSpPr>
          <p:cNvPr id="20" name="Рисунок 19"/>
          <p:cNvSpPr>
            <a:spLocks noGrp="1"/>
          </p:cNvSpPr>
          <p:nvPr>
            <p:ph type="pic" sz="quarter" idx="13" hasCustomPrompt="1"/>
          </p:nvPr>
        </p:nvSpPr>
        <p:spPr>
          <a:xfrm>
            <a:off x="5151445" y="1958847"/>
            <a:ext cx="2232000" cy="2232000"/>
          </a:xfrm>
          <a:custGeom>
            <a:avLst/>
            <a:gdLst>
              <a:gd name="connsiteX0" fmla="*/ 2357438 w 4714875"/>
              <a:gd name="connsiteY0" fmla="*/ 0 h 4714875"/>
              <a:gd name="connsiteX1" fmla="*/ 4702705 w 4714875"/>
              <a:gd name="connsiteY1" fmla="*/ 2116404 h 4714875"/>
              <a:gd name="connsiteX2" fmla="*/ 4714875 w 4714875"/>
              <a:gd name="connsiteY2" fmla="*/ 2357417 h 4714875"/>
              <a:gd name="connsiteX3" fmla="*/ 4714875 w 4714875"/>
              <a:gd name="connsiteY3" fmla="*/ 2357459 h 4714875"/>
              <a:gd name="connsiteX4" fmla="*/ 4702705 w 4714875"/>
              <a:gd name="connsiteY4" fmla="*/ 2598473 h 4714875"/>
              <a:gd name="connsiteX5" fmla="*/ 2598473 w 4714875"/>
              <a:gd name="connsiteY5" fmla="*/ 4702705 h 4714875"/>
              <a:gd name="connsiteX6" fmla="*/ 2357459 w 4714875"/>
              <a:gd name="connsiteY6" fmla="*/ 4714875 h 4714875"/>
              <a:gd name="connsiteX7" fmla="*/ 2357417 w 4714875"/>
              <a:gd name="connsiteY7" fmla="*/ 4714875 h 4714875"/>
              <a:gd name="connsiteX8" fmla="*/ 2116404 w 4714875"/>
              <a:gd name="connsiteY8" fmla="*/ 4702705 h 4714875"/>
              <a:gd name="connsiteX9" fmla="*/ 0 w 4714875"/>
              <a:gd name="connsiteY9" fmla="*/ 2357438 h 4714875"/>
              <a:gd name="connsiteX10" fmla="*/ 2357438 w 4714875"/>
              <a:gd name="connsiteY10" fmla="*/ 0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4875" h="4714875">
                <a:moveTo>
                  <a:pt x="2357438" y="0"/>
                </a:moveTo>
                <a:cubicBezTo>
                  <a:pt x="3578042" y="0"/>
                  <a:pt x="4581981" y="927651"/>
                  <a:pt x="4702705" y="2116404"/>
                </a:cubicBezTo>
                <a:lnTo>
                  <a:pt x="4714875" y="2357417"/>
                </a:lnTo>
                <a:lnTo>
                  <a:pt x="4714875" y="2357459"/>
                </a:lnTo>
                <a:lnTo>
                  <a:pt x="4702705" y="2598473"/>
                </a:lnTo>
                <a:cubicBezTo>
                  <a:pt x="4590029" y="3707975"/>
                  <a:pt x="3707975" y="4590029"/>
                  <a:pt x="2598473" y="4702705"/>
                </a:cubicBezTo>
                <a:lnTo>
                  <a:pt x="2357459" y="4714875"/>
                </a:lnTo>
                <a:lnTo>
                  <a:pt x="2357417" y="4714875"/>
                </a:lnTo>
                <a:lnTo>
                  <a:pt x="2116404" y="4702705"/>
                </a:lnTo>
                <a:cubicBezTo>
                  <a:pt x="927651" y="4581981"/>
                  <a:pt x="0" y="3578042"/>
                  <a:pt x="0" y="2357438"/>
                </a:cubicBezTo>
                <a:cubicBezTo>
                  <a:pt x="0" y="1055461"/>
                  <a:pt x="1055461" y="0"/>
                  <a:pt x="2357438" y="0"/>
                </a:cubicBezTo>
                <a:close/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274" baseline="0">
                <a:solidFill>
                  <a:schemeClr val="bg1"/>
                </a:solidFill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</a:t>
            </a:r>
            <a:r>
              <a:rPr lang="en-US" dirty="0"/>
              <a:t> 2  </a:t>
            </a:r>
            <a:r>
              <a:rPr lang="ru-RU" dirty="0"/>
              <a:t> в слайд</a:t>
            </a:r>
          </a:p>
        </p:txBody>
      </p:sp>
      <p:sp>
        <p:nvSpPr>
          <p:cNvPr id="21" name="Рисунок 20"/>
          <p:cNvSpPr>
            <a:spLocks noGrp="1"/>
          </p:cNvSpPr>
          <p:nvPr>
            <p:ph type="pic" sz="quarter" idx="14" hasCustomPrompt="1"/>
          </p:nvPr>
        </p:nvSpPr>
        <p:spPr>
          <a:xfrm>
            <a:off x="1649214" y="5168450"/>
            <a:ext cx="2232000" cy="2232000"/>
          </a:xfrm>
          <a:custGeom>
            <a:avLst/>
            <a:gdLst>
              <a:gd name="connsiteX0" fmla="*/ 2357438 w 4714875"/>
              <a:gd name="connsiteY0" fmla="*/ 0 h 4714875"/>
              <a:gd name="connsiteX1" fmla="*/ 4702705 w 4714875"/>
              <a:gd name="connsiteY1" fmla="*/ 2116404 h 4714875"/>
              <a:gd name="connsiteX2" fmla="*/ 4714875 w 4714875"/>
              <a:gd name="connsiteY2" fmla="*/ 2357417 h 4714875"/>
              <a:gd name="connsiteX3" fmla="*/ 4714875 w 4714875"/>
              <a:gd name="connsiteY3" fmla="*/ 2357459 h 4714875"/>
              <a:gd name="connsiteX4" fmla="*/ 4702705 w 4714875"/>
              <a:gd name="connsiteY4" fmla="*/ 2598473 h 4714875"/>
              <a:gd name="connsiteX5" fmla="*/ 2598473 w 4714875"/>
              <a:gd name="connsiteY5" fmla="*/ 4702705 h 4714875"/>
              <a:gd name="connsiteX6" fmla="*/ 2357459 w 4714875"/>
              <a:gd name="connsiteY6" fmla="*/ 4714875 h 4714875"/>
              <a:gd name="connsiteX7" fmla="*/ 2357417 w 4714875"/>
              <a:gd name="connsiteY7" fmla="*/ 4714875 h 4714875"/>
              <a:gd name="connsiteX8" fmla="*/ 2116404 w 4714875"/>
              <a:gd name="connsiteY8" fmla="*/ 4702705 h 4714875"/>
              <a:gd name="connsiteX9" fmla="*/ 0 w 4714875"/>
              <a:gd name="connsiteY9" fmla="*/ 2357438 h 4714875"/>
              <a:gd name="connsiteX10" fmla="*/ 2357438 w 4714875"/>
              <a:gd name="connsiteY10" fmla="*/ 0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4875" h="4714875">
                <a:moveTo>
                  <a:pt x="2357438" y="0"/>
                </a:moveTo>
                <a:cubicBezTo>
                  <a:pt x="3578042" y="0"/>
                  <a:pt x="4581981" y="927651"/>
                  <a:pt x="4702705" y="2116404"/>
                </a:cubicBezTo>
                <a:lnTo>
                  <a:pt x="4714875" y="2357417"/>
                </a:lnTo>
                <a:lnTo>
                  <a:pt x="4714875" y="2357459"/>
                </a:lnTo>
                <a:lnTo>
                  <a:pt x="4702705" y="2598473"/>
                </a:lnTo>
                <a:cubicBezTo>
                  <a:pt x="4590029" y="3707975"/>
                  <a:pt x="3707975" y="4590029"/>
                  <a:pt x="2598473" y="4702705"/>
                </a:cubicBezTo>
                <a:lnTo>
                  <a:pt x="2357459" y="4714875"/>
                </a:lnTo>
                <a:lnTo>
                  <a:pt x="2357417" y="4714875"/>
                </a:lnTo>
                <a:lnTo>
                  <a:pt x="2116404" y="4702705"/>
                </a:lnTo>
                <a:cubicBezTo>
                  <a:pt x="927651" y="4581981"/>
                  <a:pt x="0" y="3578042"/>
                  <a:pt x="0" y="2357438"/>
                </a:cubicBezTo>
                <a:cubicBezTo>
                  <a:pt x="0" y="1055461"/>
                  <a:pt x="1055461" y="0"/>
                  <a:pt x="2357438" y="0"/>
                </a:cubicBezTo>
                <a:close/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274" baseline="0">
                <a:solidFill>
                  <a:schemeClr val="bg1"/>
                </a:solidFill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</a:t>
            </a:r>
            <a:r>
              <a:rPr lang="en-US" dirty="0"/>
              <a:t> 3  </a:t>
            </a:r>
            <a:r>
              <a:rPr lang="ru-RU" dirty="0"/>
              <a:t> в слайд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4034704" y="2958849"/>
            <a:ext cx="995027" cy="229089"/>
            <a:chOff x="4034704" y="2958849"/>
            <a:chExt cx="995027" cy="229089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4034704" y="3013551"/>
              <a:ext cx="515579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93"/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4550421" y="3013550"/>
              <a:ext cx="479310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93"/>
            </a:p>
          </p:txBody>
        </p:sp>
        <p:sp>
          <p:nvSpPr>
            <p:cNvPr id="26" name="Равнобедренный треугольник 25"/>
            <p:cNvSpPr/>
            <p:nvPr/>
          </p:nvSpPr>
          <p:spPr>
            <a:xfrm rot="5400000">
              <a:off x="4497889" y="2974801"/>
              <a:ext cx="229089" cy="197186"/>
            </a:xfrm>
            <a:prstGeom prst="triangle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93"/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 rot="284793">
            <a:off x="3459074" y="4250296"/>
            <a:ext cx="2082736" cy="961927"/>
            <a:chOff x="3383655" y="4217456"/>
            <a:chExt cx="2082736" cy="961927"/>
          </a:xfrm>
        </p:grpSpPr>
        <p:sp>
          <p:nvSpPr>
            <p:cNvPr id="31" name="Прямоугольник 30"/>
            <p:cNvSpPr/>
            <p:nvPr/>
          </p:nvSpPr>
          <p:spPr>
            <a:xfrm rot="8100000">
              <a:off x="3383655" y="5059692"/>
              <a:ext cx="1244150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93"/>
            </a:p>
          </p:txBody>
        </p:sp>
        <p:sp>
          <p:nvSpPr>
            <p:cNvPr id="32" name="Прямоугольник 31"/>
            <p:cNvSpPr/>
            <p:nvPr/>
          </p:nvSpPr>
          <p:spPr>
            <a:xfrm rot="8100000">
              <a:off x="4225660" y="4217456"/>
              <a:ext cx="1240731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93"/>
            </a:p>
          </p:txBody>
        </p:sp>
        <p:sp>
          <p:nvSpPr>
            <p:cNvPr id="33" name="Равнобедренный треугольник 32"/>
            <p:cNvSpPr/>
            <p:nvPr/>
          </p:nvSpPr>
          <p:spPr>
            <a:xfrm rot="13500000">
              <a:off x="4222724" y="4687087"/>
              <a:ext cx="229089" cy="197186"/>
            </a:xfrm>
            <a:prstGeom prst="triangle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93"/>
            </a:p>
          </p:txBody>
        </p:sp>
      </p:grpSp>
      <p:sp>
        <p:nvSpPr>
          <p:cNvPr id="41" name="Скругленный прямоугольник 40"/>
          <p:cNvSpPr/>
          <p:nvPr/>
        </p:nvSpPr>
        <p:spPr>
          <a:xfrm>
            <a:off x="8955402" y="3111336"/>
            <a:ext cx="596213" cy="616122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8955402" y="4316322"/>
            <a:ext cx="596213" cy="616122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8955402" y="5506332"/>
            <a:ext cx="596213" cy="616122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50" name="Текст 49"/>
          <p:cNvSpPr>
            <a:spLocks noGrp="1"/>
          </p:cNvSpPr>
          <p:nvPr>
            <p:ph type="body" sz="quarter" idx="16" hasCustomPrompt="1"/>
          </p:nvPr>
        </p:nvSpPr>
        <p:spPr>
          <a:xfrm>
            <a:off x="9743966" y="3253124"/>
            <a:ext cx="5361407" cy="30379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293" baseline="0">
                <a:latin typeface="+mj-lt"/>
              </a:defRPr>
            </a:lvl1pPr>
            <a:lvl2pPr marL="582473" indent="0">
              <a:buNone/>
              <a:defRPr sz="3058">
                <a:latin typeface="Bliss Pro ExtraLight" panose="02000506040000020004" pitchFamily="50" charset="0"/>
              </a:defRPr>
            </a:lvl2pPr>
            <a:lvl3pPr marL="1164946" indent="0">
              <a:buNone/>
              <a:defRPr sz="3058">
                <a:latin typeface="Bliss Pro ExtraLight" panose="02000506040000020004" pitchFamily="50" charset="0"/>
              </a:defRPr>
            </a:lvl3pPr>
            <a:lvl4pPr marL="1747418" indent="0">
              <a:buNone/>
              <a:defRPr sz="3058">
                <a:latin typeface="Bliss Pro ExtraLight" panose="02000506040000020004" pitchFamily="50" charset="0"/>
              </a:defRPr>
            </a:lvl4pPr>
            <a:lvl5pPr marL="2329891" indent="0">
              <a:buNone/>
              <a:defRPr sz="3058"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Название составляющей.</a:t>
            </a:r>
          </a:p>
        </p:txBody>
      </p:sp>
      <p:sp>
        <p:nvSpPr>
          <p:cNvPr id="51" name="Текст 49"/>
          <p:cNvSpPr>
            <a:spLocks noGrp="1"/>
          </p:cNvSpPr>
          <p:nvPr>
            <p:ph type="body" sz="quarter" idx="17" hasCustomPrompt="1"/>
          </p:nvPr>
        </p:nvSpPr>
        <p:spPr>
          <a:xfrm>
            <a:off x="9743965" y="4462638"/>
            <a:ext cx="5361407" cy="289178"/>
          </a:xfrm>
        </p:spPr>
        <p:txBody>
          <a:bodyPr lIns="0" tIns="0" rIns="0" bIns="0">
            <a:noAutofit/>
          </a:bodyPr>
          <a:lstStyle>
            <a:lvl1pPr marL="0" marR="0" indent="0" algn="l" defTabSz="1164946" rtl="0" eaLnBrk="1" fontAlgn="auto" latinLnBrk="0" hangingPunct="1">
              <a:lnSpc>
                <a:spcPct val="90000"/>
              </a:lnSpc>
              <a:spcBef>
                <a:spcPts val="127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93" b="0" kern="2000" spc="0" baseline="0">
                <a:latin typeface="+mj-lt"/>
              </a:defRPr>
            </a:lvl1pPr>
            <a:lvl2pPr marL="582473" indent="0">
              <a:buNone/>
              <a:defRPr sz="3058">
                <a:latin typeface="Bliss Pro ExtraLight" panose="02000506040000020004" pitchFamily="50" charset="0"/>
              </a:defRPr>
            </a:lvl2pPr>
            <a:lvl3pPr marL="1164946" indent="0">
              <a:buNone/>
              <a:defRPr sz="3058">
                <a:latin typeface="Bliss Pro ExtraLight" panose="02000506040000020004" pitchFamily="50" charset="0"/>
              </a:defRPr>
            </a:lvl3pPr>
            <a:lvl4pPr marL="1747418" indent="0">
              <a:buNone/>
              <a:defRPr sz="3058">
                <a:latin typeface="Bliss Pro ExtraLight" panose="02000506040000020004" pitchFamily="50" charset="0"/>
              </a:defRPr>
            </a:lvl4pPr>
            <a:lvl5pPr marL="2329891" indent="0">
              <a:buNone/>
              <a:defRPr sz="3058">
                <a:latin typeface="Bliss Pro ExtraLight" panose="02000506040000020004" pitchFamily="50" charset="0"/>
              </a:defRPr>
            </a:lvl5pPr>
          </a:lstStyle>
          <a:p>
            <a:pPr marL="0" marR="0" lvl="0" indent="0" algn="l" defTabSz="1164946" rtl="0" eaLnBrk="1" fontAlgn="auto" latinLnBrk="0" hangingPunct="1">
              <a:lnSpc>
                <a:spcPct val="90000"/>
              </a:lnSpc>
              <a:spcBef>
                <a:spcPts val="127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составляющей.</a:t>
            </a:r>
          </a:p>
          <a:p>
            <a:pPr lvl="0"/>
            <a:endParaRPr lang="ru-RU" dirty="0"/>
          </a:p>
        </p:txBody>
      </p:sp>
      <p:sp>
        <p:nvSpPr>
          <p:cNvPr id="52" name="Текст 49"/>
          <p:cNvSpPr>
            <a:spLocks noGrp="1"/>
          </p:cNvSpPr>
          <p:nvPr>
            <p:ph type="body" sz="quarter" idx="18" hasCustomPrompt="1"/>
          </p:nvPr>
        </p:nvSpPr>
        <p:spPr>
          <a:xfrm>
            <a:off x="9743965" y="5660701"/>
            <a:ext cx="5361407" cy="27134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293" baseline="0">
                <a:latin typeface="+mj-lt"/>
              </a:defRPr>
            </a:lvl1pPr>
            <a:lvl2pPr marL="582473" indent="0">
              <a:buNone/>
              <a:defRPr sz="3058">
                <a:latin typeface="Bliss Pro ExtraLight" panose="02000506040000020004" pitchFamily="50" charset="0"/>
              </a:defRPr>
            </a:lvl2pPr>
            <a:lvl3pPr marL="1164946" indent="0">
              <a:buNone/>
              <a:defRPr sz="3058">
                <a:latin typeface="Bliss Pro ExtraLight" panose="02000506040000020004" pitchFamily="50" charset="0"/>
              </a:defRPr>
            </a:lvl3pPr>
            <a:lvl4pPr marL="1747418" indent="0">
              <a:buNone/>
              <a:defRPr sz="3058">
                <a:latin typeface="Bliss Pro ExtraLight" panose="02000506040000020004" pitchFamily="50" charset="0"/>
              </a:defRPr>
            </a:lvl4pPr>
            <a:lvl5pPr marL="2329891" indent="0">
              <a:buNone/>
              <a:defRPr sz="3058"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Название составляющей.</a:t>
            </a:r>
          </a:p>
        </p:txBody>
      </p:sp>
      <p:sp>
        <p:nvSpPr>
          <p:cNvPr id="49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8950746" y="3096017"/>
            <a:ext cx="596213" cy="641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567" dirty="0">
                <a:solidFill>
                  <a:schemeClr val="bg1"/>
                </a:solidFill>
                <a:latin typeface="Stem Medium" panose="020B0603020203020204" pitchFamily="34" charset="-52"/>
                <a:ea typeface="Stem Medium" panose="020B0603020203020204" pitchFamily="34" charset="-52"/>
              </a:rPr>
              <a:t>1</a:t>
            </a:r>
            <a:endParaRPr lang="ru-RU" sz="3567" dirty="0">
              <a:solidFill>
                <a:schemeClr val="bg1"/>
              </a:solidFill>
              <a:latin typeface="Stem Medium" panose="020B0603020203020204" pitchFamily="34" charset="-52"/>
              <a:ea typeface="Stem Medium" panose="020B0603020203020204" pitchFamily="34" charset="-52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962880" y="4279637"/>
            <a:ext cx="596213" cy="641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567" dirty="0">
                <a:solidFill>
                  <a:schemeClr val="bg1"/>
                </a:solidFill>
                <a:latin typeface="Stem Medium" panose="020B0603020203020204" pitchFamily="34" charset="-52"/>
                <a:ea typeface="Stem Medium" panose="020B0603020203020204" pitchFamily="34" charset="-52"/>
              </a:rPr>
              <a:t>2</a:t>
            </a:r>
            <a:endParaRPr lang="ru-RU" sz="3567" dirty="0">
              <a:solidFill>
                <a:schemeClr val="bg1"/>
              </a:solidFill>
              <a:latin typeface="Stem Medium" panose="020B0603020203020204" pitchFamily="34" charset="-52"/>
              <a:ea typeface="Stem Medium" panose="020B0603020203020204" pitchFamily="34" charset="-52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8956812" y="5484699"/>
            <a:ext cx="596213" cy="641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567" dirty="0">
                <a:solidFill>
                  <a:schemeClr val="bg1"/>
                </a:solidFill>
                <a:latin typeface="Stem Medium" panose="020B0603020203020204" pitchFamily="34" charset="-52"/>
                <a:ea typeface="Stem Medium" panose="020B0603020203020204" pitchFamily="34" charset="-52"/>
              </a:rPr>
              <a:t>3</a:t>
            </a:r>
            <a:endParaRPr lang="ru-RU" sz="3567" dirty="0">
              <a:solidFill>
                <a:schemeClr val="bg1"/>
              </a:solidFill>
              <a:latin typeface="Stem Medium" panose="020B0603020203020204" pitchFamily="34" charset="-52"/>
              <a:ea typeface="Stem Medium" panose="020B0603020203020204" pitchFamily="34" charset="-52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flipV="1">
            <a:off x="8248566" y="1910746"/>
            <a:ext cx="0" cy="5792572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59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  <p:sp>
        <p:nvSpPr>
          <p:cNvPr id="46" name="Текст 49"/>
          <p:cNvSpPr>
            <a:spLocks noGrp="1"/>
          </p:cNvSpPr>
          <p:nvPr>
            <p:ph type="body" sz="quarter" idx="20" hasCustomPrompt="1"/>
          </p:nvPr>
        </p:nvSpPr>
        <p:spPr>
          <a:xfrm>
            <a:off x="8970582" y="2173351"/>
            <a:ext cx="6134790" cy="36014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293" baseline="0">
                <a:latin typeface="+mj-lt"/>
              </a:defRPr>
            </a:lvl1pPr>
            <a:lvl2pPr marL="582473" indent="0">
              <a:buNone/>
              <a:defRPr sz="3058">
                <a:latin typeface="Bliss Pro ExtraLight" panose="02000506040000020004" pitchFamily="50" charset="0"/>
              </a:defRPr>
            </a:lvl2pPr>
            <a:lvl3pPr marL="1164946" indent="0">
              <a:buNone/>
              <a:defRPr sz="3058">
                <a:latin typeface="Bliss Pro ExtraLight" panose="02000506040000020004" pitchFamily="50" charset="0"/>
              </a:defRPr>
            </a:lvl3pPr>
            <a:lvl4pPr marL="1747418" indent="0">
              <a:buNone/>
              <a:defRPr sz="3058">
                <a:latin typeface="Bliss Pro ExtraLight" panose="02000506040000020004" pitchFamily="50" charset="0"/>
              </a:defRPr>
            </a:lvl4pPr>
            <a:lvl5pPr marL="2329891" indent="0">
              <a:buNone/>
              <a:defRPr sz="3058"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34" name="Скругленный прямоугольник 33"/>
          <p:cNvSpPr/>
          <p:nvPr userDrawn="1"/>
        </p:nvSpPr>
        <p:spPr>
          <a:xfrm>
            <a:off x="8955402" y="6769285"/>
            <a:ext cx="596213" cy="616122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5" name="Текст 49"/>
          <p:cNvSpPr>
            <a:spLocks noGrp="1"/>
          </p:cNvSpPr>
          <p:nvPr>
            <p:ph type="body" sz="quarter" idx="21" hasCustomPrompt="1"/>
          </p:nvPr>
        </p:nvSpPr>
        <p:spPr>
          <a:xfrm>
            <a:off x="9743965" y="6923654"/>
            <a:ext cx="5361407" cy="27134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293" baseline="0">
                <a:latin typeface="+mj-lt"/>
              </a:defRPr>
            </a:lvl1pPr>
            <a:lvl2pPr marL="582473" indent="0">
              <a:buNone/>
              <a:defRPr sz="3058">
                <a:latin typeface="Bliss Pro ExtraLight" panose="02000506040000020004" pitchFamily="50" charset="0"/>
              </a:defRPr>
            </a:lvl2pPr>
            <a:lvl3pPr marL="1164946" indent="0">
              <a:buNone/>
              <a:defRPr sz="3058">
                <a:latin typeface="Bliss Pro ExtraLight" panose="02000506040000020004" pitchFamily="50" charset="0"/>
              </a:defRPr>
            </a:lvl3pPr>
            <a:lvl4pPr marL="1747418" indent="0">
              <a:buNone/>
              <a:defRPr sz="3058">
                <a:latin typeface="Bliss Pro ExtraLight" panose="02000506040000020004" pitchFamily="50" charset="0"/>
              </a:defRPr>
            </a:lvl4pPr>
            <a:lvl5pPr marL="2329891" indent="0">
              <a:buNone/>
              <a:defRPr sz="3058"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Название составляющей.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8956812" y="6747652"/>
            <a:ext cx="596213" cy="641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567" dirty="0" smtClean="0">
                <a:solidFill>
                  <a:schemeClr val="bg1"/>
                </a:solidFill>
                <a:latin typeface="Stem Medium" panose="020B0603020203020204" pitchFamily="34" charset="-52"/>
                <a:ea typeface="Stem Medium" panose="020B0603020203020204" pitchFamily="34" charset="-52"/>
              </a:rPr>
              <a:t>4</a:t>
            </a:r>
            <a:endParaRPr lang="ru-RU" sz="3567" dirty="0">
              <a:solidFill>
                <a:schemeClr val="bg1"/>
              </a:solidFill>
              <a:latin typeface="Stem Medium" panose="020B0603020203020204" pitchFamily="34" charset="-52"/>
              <a:ea typeface="Stem Medium" panose="020B0603020203020204" pitchFamily="34" charset="-52"/>
            </a:endParaRPr>
          </a:p>
        </p:txBody>
      </p:sp>
      <p:sp>
        <p:nvSpPr>
          <p:cNvPr id="37" name="Овал 36"/>
          <p:cNvSpPr/>
          <p:nvPr userDrawn="1"/>
        </p:nvSpPr>
        <p:spPr>
          <a:xfrm>
            <a:off x="4999395" y="5018476"/>
            <a:ext cx="2536101" cy="2540018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8" name="Рисунок 20"/>
          <p:cNvSpPr>
            <a:spLocks noGrp="1"/>
          </p:cNvSpPr>
          <p:nvPr>
            <p:ph type="pic" sz="quarter" idx="22" hasCustomPrompt="1"/>
          </p:nvPr>
        </p:nvSpPr>
        <p:spPr>
          <a:xfrm>
            <a:off x="5151445" y="5168450"/>
            <a:ext cx="2232000" cy="2232000"/>
          </a:xfrm>
          <a:custGeom>
            <a:avLst/>
            <a:gdLst>
              <a:gd name="connsiteX0" fmla="*/ 2357438 w 4714875"/>
              <a:gd name="connsiteY0" fmla="*/ 0 h 4714875"/>
              <a:gd name="connsiteX1" fmla="*/ 4702705 w 4714875"/>
              <a:gd name="connsiteY1" fmla="*/ 2116404 h 4714875"/>
              <a:gd name="connsiteX2" fmla="*/ 4714875 w 4714875"/>
              <a:gd name="connsiteY2" fmla="*/ 2357417 h 4714875"/>
              <a:gd name="connsiteX3" fmla="*/ 4714875 w 4714875"/>
              <a:gd name="connsiteY3" fmla="*/ 2357459 h 4714875"/>
              <a:gd name="connsiteX4" fmla="*/ 4702705 w 4714875"/>
              <a:gd name="connsiteY4" fmla="*/ 2598473 h 4714875"/>
              <a:gd name="connsiteX5" fmla="*/ 2598473 w 4714875"/>
              <a:gd name="connsiteY5" fmla="*/ 4702705 h 4714875"/>
              <a:gd name="connsiteX6" fmla="*/ 2357459 w 4714875"/>
              <a:gd name="connsiteY6" fmla="*/ 4714875 h 4714875"/>
              <a:gd name="connsiteX7" fmla="*/ 2357417 w 4714875"/>
              <a:gd name="connsiteY7" fmla="*/ 4714875 h 4714875"/>
              <a:gd name="connsiteX8" fmla="*/ 2116404 w 4714875"/>
              <a:gd name="connsiteY8" fmla="*/ 4702705 h 4714875"/>
              <a:gd name="connsiteX9" fmla="*/ 0 w 4714875"/>
              <a:gd name="connsiteY9" fmla="*/ 2357438 h 4714875"/>
              <a:gd name="connsiteX10" fmla="*/ 2357438 w 4714875"/>
              <a:gd name="connsiteY10" fmla="*/ 0 h 471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14875" h="4714875">
                <a:moveTo>
                  <a:pt x="2357438" y="0"/>
                </a:moveTo>
                <a:cubicBezTo>
                  <a:pt x="3578042" y="0"/>
                  <a:pt x="4581981" y="927651"/>
                  <a:pt x="4702705" y="2116404"/>
                </a:cubicBezTo>
                <a:lnTo>
                  <a:pt x="4714875" y="2357417"/>
                </a:lnTo>
                <a:lnTo>
                  <a:pt x="4714875" y="2357459"/>
                </a:lnTo>
                <a:lnTo>
                  <a:pt x="4702705" y="2598473"/>
                </a:lnTo>
                <a:cubicBezTo>
                  <a:pt x="4590029" y="3707975"/>
                  <a:pt x="3707975" y="4590029"/>
                  <a:pt x="2598473" y="4702705"/>
                </a:cubicBezTo>
                <a:lnTo>
                  <a:pt x="2357459" y="4714875"/>
                </a:lnTo>
                <a:lnTo>
                  <a:pt x="2357417" y="4714875"/>
                </a:lnTo>
                <a:lnTo>
                  <a:pt x="2116404" y="4702705"/>
                </a:lnTo>
                <a:cubicBezTo>
                  <a:pt x="927651" y="4581981"/>
                  <a:pt x="0" y="3578042"/>
                  <a:pt x="0" y="2357438"/>
                </a:cubicBezTo>
                <a:cubicBezTo>
                  <a:pt x="0" y="1055461"/>
                  <a:pt x="1055461" y="0"/>
                  <a:pt x="2357438" y="0"/>
                </a:cubicBezTo>
                <a:close/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274" baseline="0">
                <a:solidFill>
                  <a:schemeClr val="bg1"/>
                </a:solidFill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</a:t>
            </a:r>
            <a:r>
              <a:rPr lang="en-US" dirty="0"/>
              <a:t> 3  </a:t>
            </a:r>
            <a:r>
              <a:rPr lang="ru-RU" dirty="0"/>
              <a:t> в слайд</a:t>
            </a:r>
          </a:p>
        </p:txBody>
      </p:sp>
      <p:grpSp>
        <p:nvGrpSpPr>
          <p:cNvPr id="39" name="Группа 38"/>
          <p:cNvGrpSpPr/>
          <p:nvPr userDrawn="1"/>
        </p:nvGrpSpPr>
        <p:grpSpPr>
          <a:xfrm>
            <a:off x="4034704" y="6159255"/>
            <a:ext cx="995027" cy="229089"/>
            <a:chOff x="4034704" y="2958849"/>
            <a:chExt cx="995027" cy="229089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4034704" y="3013551"/>
              <a:ext cx="515579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93"/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4550421" y="3013550"/>
              <a:ext cx="479310" cy="119691"/>
            </a:xfrm>
            <a:prstGeom prst="rect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93"/>
            </a:p>
          </p:txBody>
        </p:sp>
        <p:sp>
          <p:nvSpPr>
            <p:cNvPr id="47" name="Равнобедренный треугольник 46"/>
            <p:cNvSpPr/>
            <p:nvPr/>
          </p:nvSpPr>
          <p:spPr>
            <a:xfrm rot="5400000">
              <a:off x="4497889" y="2974801"/>
              <a:ext cx="229089" cy="197186"/>
            </a:xfrm>
            <a:prstGeom prst="triangle">
              <a:avLst/>
            </a:prstGeom>
            <a:solidFill>
              <a:srgbClr val="006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93"/>
            </a:p>
          </p:txBody>
        </p:sp>
      </p:grpSp>
    </p:spTree>
    <p:extLst>
      <p:ext uri="{BB962C8B-B14F-4D97-AF65-F5344CB8AC3E}">
        <p14:creationId xmlns:p14="http://schemas.microsoft.com/office/powerpoint/2010/main" val="7655663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тремя изображ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13" hasCustomPrompt="1"/>
          </p:nvPr>
        </p:nvSpPr>
        <p:spPr>
          <a:xfrm>
            <a:off x="1528943" y="1973319"/>
            <a:ext cx="3761108" cy="2826984"/>
          </a:xfrm>
          <a:prstGeom prst="roundRect">
            <a:avLst>
              <a:gd name="adj" fmla="val 2518"/>
            </a:avLst>
          </a:prstGeom>
          <a:ln>
            <a:noFill/>
          </a:ln>
        </p:spPr>
        <p:txBody>
          <a:bodyPr tIns="972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1 в слайд.</a:t>
            </a:r>
          </a:p>
        </p:txBody>
      </p:sp>
      <p:sp>
        <p:nvSpPr>
          <p:cNvPr id="20" name="Текст 18"/>
          <p:cNvSpPr>
            <a:spLocks noGrp="1"/>
          </p:cNvSpPr>
          <p:nvPr>
            <p:ph type="body" sz="quarter" idx="19" hasCustomPrompt="1"/>
          </p:nvPr>
        </p:nvSpPr>
        <p:spPr>
          <a:xfrm>
            <a:off x="5893236" y="5104749"/>
            <a:ext cx="3761110" cy="893498"/>
          </a:xfrm>
        </p:spPr>
        <p:txBody>
          <a:bodyPr tIns="108000">
            <a:normAutofit/>
          </a:bodyPr>
          <a:lstStyle>
            <a:lvl1pPr marL="0" indent="0" algn="ctr">
              <a:buNone/>
              <a:defRPr sz="2038" baseline="0">
                <a:latin typeface="+mj-lt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Заголовок                                       к изображению 2.</a:t>
            </a:r>
          </a:p>
        </p:txBody>
      </p:sp>
      <p:sp>
        <p:nvSpPr>
          <p:cNvPr id="21" name="Текст 18"/>
          <p:cNvSpPr>
            <a:spLocks noGrp="1"/>
          </p:cNvSpPr>
          <p:nvPr>
            <p:ph type="body" sz="quarter" idx="20" hasCustomPrompt="1"/>
          </p:nvPr>
        </p:nvSpPr>
        <p:spPr>
          <a:xfrm>
            <a:off x="10257529" y="5086214"/>
            <a:ext cx="3761110" cy="893498"/>
          </a:xfrm>
        </p:spPr>
        <p:txBody>
          <a:bodyPr tIns="108000">
            <a:normAutofit/>
          </a:bodyPr>
          <a:lstStyle>
            <a:lvl1pPr marL="0" indent="0" algn="ctr">
              <a:buNone/>
              <a:defRPr sz="2038" baseline="0">
                <a:latin typeface="+mj-lt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Заголовок                                       к изображению 3.</a:t>
            </a:r>
          </a:p>
        </p:txBody>
      </p:sp>
      <p:sp>
        <p:nvSpPr>
          <p:cNvPr id="22" name="Текст 18"/>
          <p:cNvSpPr>
            <a:spLocks noGrp="1"/>
          </p:cNvSpPr>
          <p:nvPr>
            <p:ph type="body" sz="quarter" idx="21" hasCustomPrompt="1"/>
          </p:nvPr>
        </p:nvSpPr>
        <p:spPr>
          <a:xfrm>
            <a:off x="5893234" y="6025699"/>
            <a:ext cx="3761110" cy="1979204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50000"/>
                    <a:lumOff val="50000"/>
                  </a:schemeClr>
                </a:solidFill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Комментарий к изображению 1.</a:t>
            </a:r>
          </a:p>
        </p:txBody>
      </p:sp>
      <p:sp>
        <p:nvSpPr>
          <p:cNvPr id="23" name="Текст 18"/>
          <p:cNvSpPr>
            <a:spLocks noGrp="1"/>
          </p:cNvSpPr>
          <p:nvPr>
            <p:ph type="body" sz="quarter" idx="22" hasCustomPrompt="1"/>
          </p:nvPr>
        </p:nvSpPr>
        <p:spPr>
          <a:xfrm>
            <a:off x="10257528" y="6025699"/>
            <a:ext cx="3761110" cy="1979204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50000"/>
                    <a:lumOff val="50000"/>
                  </a:schemeClr>
                </a:solidFill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Комментарий к изображению 1.</a:t>
            </a:r>
          </a:p>
        </p:txBody>
      </p:sp>
      <p:sp>
        <p:nvSpPr>
          <p:cNvPr id="24" name="Текст 18"/>
          <p:cNvSpPr>
            <a:spLocks noGrp="1"/>
          </p:cNvSpPr>
          <p:nvPr>
            <p:ph type="body" sz="quarter" idx="23" hasCustomPrompt="1"/>
          </p:nvPr>
        </p:nvSpPr>
        <p:spPr>
          <a:xfrm>
            <a:off x="1528944" y="5104749"/>
            <a:ext cx="3761110" cy="893498"/>
          </a:xfrm>
        </p:spPr>
        <p:txBody>
          <a:bodyPr tIns="108000">
            <a:normAutofit/>
          </a:bodyPr>
          <a:lstStyle>
            <a:lvl1pPr marL="0" indent="0" algn="ctr">
              <a:buNone/>
              <a:defRPr sz="2038" baseline="0">
                <a:latin typeface="+mj-lt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Заголовок                                       к изображению 1.</a:t>
            </a:r>
          </a:p>
        </p:txBody>
      </p:sp>
      <p:sp>
        <p:nvSpPr>
          <p:cNvPr id="25" name="Текст 18"/>
          <p:cNvSpPr>
            <a:spLocks noGrp="1"/>
          </p:cNvSpPr>
          <p:nvPr>
            <p:ph type="body" sz="quarter" idx="24" hasCustomPrompt="1"/>
          </p:nvPr>
        </p:nvSpPr>
        <p:spPr>
          <a:xfrm>
            <a:off x="1528942" y="6025699"/>
            <a:ext cx="3761110" cy="1979204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50000"/>
                    <a:lumOff val="50000"/>
                  </a:schemeClr>
                </a:solidFill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Комментарий к изображению 1.</a:t>
            </a:r>
          </a:p>
        </p:txBody>
      </p:sp>
      <p:sp>
        <p:nvSpPr>
          <p:cNvPr id="27" name="Рисунок 14"/>
          <p:cNvSpPr>
            <a:spLocks noGrp="1"/>
          </p:cNvSpPr>
          <p:nvPr>
            <p:ph type="pic" sz="quarter" idx="25" hasCustomPrompt="1"/>
          </p:nvPr>
        </p:nvSpPr>
        <p:spPr>
          <a:xfrm>
            <a:off x="5893231" y="1973321"/>
            <a:ext cx="3761108" cy="2813255"/>
          </a:xfrm>
          <a:prstGeom prst="roundRect">
            <a:avLst>
              <a:gd name="adj" fmla="val 2518"/>
            </a:avLst>
          </a:prstGeom>
          <a:ln>
            <a:noFill/>
          </a:ln>
        </p:spPr>
        <p:txBody>
          <a:bodyPr tIns="972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2 в слайд.</a:t>
            </a:r>
          </a:p>
        </p:txBody>
      </p:sp>
      <p:sp>
        <p:nvSpPr>
          <p:cNvPr id="28" name="Рисунок 14"/>
          <p:cNvSpPr>
            <a:spLocks noGrp="1"/>
          </p:cNvSpPr>
          <p:nvPr>
            <p:ph type="pic" sz="quarter" idx="26" hasCustomPrompt="1"/>
          </p:nvPr>
        </p:nvSpPr>
        <p:spPr>
          <a:xfrm>
            <a:off x="10257526" y="1973319"/>
            <a:ext cx="3761108" cy="2813255"/>
          </a:xfrm>
          <a:prstGeom prst="roundRect">
            <a:avLst>
              <a:gd name="adj" fmla="val 2518"/>
            </a:avLst>
          </a:prstGeom>
          <a:ln>
            <a:noFill/>
          </a:ln>
        </p:spPr>
        <p:txBody>
          <a:bodyPr tIns="972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3 в слайд.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V="1">
            <a:off x="5591120" y="1973320"/>
            <a:ext cx="0" cy="5792572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 flipV="1">
            <a:off x="9947389" y="1973320"/>
            <a:ext cx="0" cy="5792572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Рисунок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33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163187447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1750" y="670631"/>
            <a:ext cx="3210629" cy="67972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799945" y="1541431"/>
            <a:ext cx="1419731" cy="142192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9" name="Прямоугольник 8"/>
          <p:cNvSpPr/>
          <p:nvPr/>
        </p:nvSpPr>
        <p:spPr>
          <a:xfrm>
            <a:off x="6313961" y="1541431"/>
            <a:ext cx="1419731" cy="142192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0" name="Прямоугольник 9"/>
          <p:cNvSpPr/>
          <p:nvPr/>
        </p:nvSpPr>
        <p:spPr>
          <a:xfrm>
            <a:off x="7818633" y="1541431"/>
            <a:ext cx="1419731" cy="1421924"/>
          </a:xfrm>
          <a:prstGeom prst="rect">
            <a:avLst/>
          </a:prstGeom>
          <a:solidFill>
            <a:srgbClr val="0065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1" name="Прямоугольник 10"/>
          <p:cNvSpPr/>
          <p:nvPr/>
        </p:nvSpPr>
        <p:spPr>
          <a:xfrm>
            <a:off x="9323305" y="1541431"/>
            <a:ext cx="1419731" cy="14219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2" name="Прямоугольник 11"/>
          <p:cNvSpPr/>
          <p:nvPr/>
        </p:nvSpPr>
        <p:spPr>
          <a:xfrm>
            <a:off x="10827978" y="1541431"/>
            <a:ext cx="1419731" cy="142192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3" name="Прямоугольник 12"/>
          <p:cNvSpPr/>
          <p:nvPr/>
        </p:nvSpPr>
        <p:spPr>
          <a:xfrm>
            <a:off x="12332650" y="1541431"/>
            <a:ext cx="1419731" cy="14219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6" name="Прямоугольник 15"/>
          <p:cNvSpPr/>
          <p:nvPr/>
        </p:nvSpPr>
        <p:spPr>
          <a:xfrm>
            <a:off x="1799945" y="3036274"/>
            <a:ext cx="1419731" cy="142192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9" name="Прямоугольник 18"/>
          <p:cNvSpPr/>
          <p:nvPr/>
        </p:nvSpPr>
        <p:spPr>
          <a:xfrm>
            <a:off x="6313961" y="3036274"/>
            <a:ext cx="7438420" cy="142192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0" name="Прямоугольник 19"/>
          <p:cNvSpPr/>
          <p:nvPr/>
        </p:nvSpPr>
        <p:spPr>
          <a:xfrm>
            <a:off x="7818633" y="3036274"/>
            <a:ext cx="1419731" cy="142192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1" name="Прямоугольник 20"/>
          <p:cNvSpPr/>
          <p:nvPr/>
        </p:nvSpPr>
        <p:spPr>
          <a:xfrm>
            <a:off x="9323305" y="3036274"/>
            <a:ext cx="1419731" cy="142192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2" name="Прямоугольник 21"/>
          <p:cNvSpPr/>
          <p:nvPr/>
        </p:nvSpPr>
        <p:spPr>
          <a:xfrm>
            <a:off x="10827978" y="3036274"/>
            <a:ext cx="1419731" cy="142192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3" name="Прямоугольник 22"/>
          <p:cNvSpPr/>
          <p:nvPr/>
        </p:nvSpPr>
        <p:spPr>
          <a:xfrm>
            <a:off x="12332650" y="3036274"/>
            <a:ext cx="1419731" cy="1421924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4" name="Прямоугольник 23"/>
          <p:cNvSpPr/>
          <p:nvPr/>
        </p:nvSpPr>
        <p:spPr>
          <a:xfrm>
            <a:off x="1799945" y="4535168"/>
            <a:ext cx="1419731" cy="142192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5" name="Прямоугольник 24"/>
          <p:cNvSpPr/>
          <p:nvPr/>
        </p:nvSpPr>
        <p:spPr>
          <a:xfrm>
            <a:off x="3304617" y="4535168"/>
            <a:ext cx="1419731" cy="142192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6" name="Прямоугольник 25"/>
          <p:cNvSpPr/>
          <p:nvPr/>
        </p:nvSpPr>
        <p:spPr>
          <a:xfrm>
            <a:off x="4809289" y="4535168"/>
            <a:ext cx="1419731" cy="142192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7" name="Прямоугольник 26"/>
          <p:cNvSpPr/>
          <p:nvPr/>
        </p:nvSpPr>
        <p:spPr>
          <a:xfrm>
            <a:off x="6313961" y="4535168"/>
            <a:ext cx="1419731" cy="142192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0" name="Прямоугольник 29"/>
          <p:cNvSpPr/>
          <p:nvPr/>
        </p:nvSpPr>
        <p:spPr>
          <a:xfrm>
            <a:off x="10827978" y="4535168"/>
            <a:ext cx="1419731" cy="142192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1" name="Прямоугольник 30"/>
          <p:cNvSpPr/>
          <p:nvPr/>
        </p:nvSpPr>
        <p:spPr>
          <a:xfrm>
            <a:off x="12332650" y="4535168"/>
            <a:ext cx="1419731" cy="142192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2" name="Прямоугольник 31"/>
          <p:cNvSpPr/>
          <p:nvPr/>
        </p:nvSpPr>
        <p:spPr>
          <a:xfrm>
            <a:off x="1799945" y="6030011"/>
            <a:ext cx="1419731" cy="1421924"/>
          </a:xfrm>
          <a:prstGeom prst="rect">
            <a:avLst/>
          </a:prstGeom>
          <a:solidFill>
            <a:schemeClr val="accent6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4" name="Прямоугольник 33"/>
          <p:cNvSpPr/>
          <p:nvPr/>
        </p:nvSpPr>
        <p:spPr>
          <a:xfrm>
            <a:off x="4809289" y="6030011"/>
            <a:ext cx="1419731" cy="1421924"/>
          </a:xfrm>
          <a:prstGeom prst="rect">
            <a:avLst/>
          </a:prstGeom>
          <a:solidFill>
            <a:srgbClr val="0065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5" name="Прямоугольник 34"/>
          <p:cNvSpPr/>
          <p:nvPr/>
        </p:nvSpPr>
        <p:spPr>
          <a:xfrm>
            <a:off x="6313961" y="6030011"/>
            <a:ext cx="1419731" cy="142192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6" name="Прямоугольник 35"/>
          <p:cNvSpPr/>
          <p:nvPr/>
        </p:nvSpPr>
        <p:spPr>
          <a:xfrm>
            <a:off x="7818633" y="6030011"/>
            <a:ext cx="1419731" cy="142192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7" name="Прямоугольник 36"/>
          <p:cNvSpPr/>
          <p:nvPr/>
        </p:nvSpPr>
        <p:spPr>
          <a:xfrm>
            <a:off x="9323305" y="6030011"/>
            <a:ext cx="1419731" cy="1421924"/>
          </a:xfrm>
          <a:prstGeom prst="rect">
            <a:avLst/>
          </a:prstGeom>
          <a:solidFill>
            <a:schemeClr val="accent6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8" name="Прямоугольник 37"/>
          <p:cNvSpPr/>
          <p:nvPr/>
        </p:nvSpPr>
        <p:spPr>
          <a:xfrm>
            <a:off x="10827978" y="6030011"/>
            <a:ext cx="1419731" cy="1421924"/>
          </a:xfrm>
          <a:prstGeom prst="rect">
            <a:avLst/>
          </a:prstGeom>
          <a:solidFill>
            <a:srgbClr val="0065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9" name="Прямоугольник 38"/>
          <p:cNvSpPr/>
          <p:nvPr/>
        </p:nvSpPr>
        <p:spPr>
          <a:xfrm>
            <a:off x="12332650" y="6030011"/>
            <a:ext cx="1419731" cy="142192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3" name="Рисунок 42"/>
          <p:cNvSpPr>
            <a:spLocks noGrp="1"/>
          </p:cNvSpPr>
          <p:nvPr>
            <p:ph type="pic" sz="quarter" idx="15" hasCustomPrompt="1"/>
          </p:nvPr>
        </p:nvSpPr>
        <p:spPr>
          <a:xfrm>
            <a:off x="3304617" y="1541432"/>
            <a:ext cx="2924403" cy="2916765"/>
          </a:xfrm>
          <a:custGeom>
            <a:avLst/>
            <a:gdLst>
              <a:gd name="connsiteX0" fmla="*/ 1181100 w 2295525"/>
              <a:gd name="connsiteY0" fmla="*/ 1171574 h 2285999"/>
              <a:gd name="connsiteX1" fmla="*/ 2295525 w 2295525"/>
              <a:gd name="connsiteY1" fmla="*/ 1171574 h 2285999"/>
              <a:gd name="connsiteX2" fmla="*/ 2295525 w 2295525"/>
              <a:gd name="connsiteY2" fmla="*/ 2285999 h 2285999"/>
              <a:gd name="connsiteX3" fmla="*/ 1181100 w 2295525"/>
              <a:gd name="connsiteY3" fmla="*/ 2285999 h 2285999"/>
              <a:gd name="connsiteX4" fmla="*/ 0 w 2295525"/>
              <a:gd name="connsiteY4" fmla="*/ 1171574 h 2285999"/>
              <a:gd name="connsiteX5" fmla="*/ 1114425 w 2295525"/>
              <a:gd name="connsiteY5" fmla="*/ 1171574 h 2285999"/>
              <a:gd name="connsiteX6" fmla="*/ 1114425 w 2295525"/>
              <a:gd name="connsiteY6" fmla="*/ 2285999 h 2285999"/>
              <a:gd name="connsiteX7" fmla="*/ 0 w 2295525"/>
              <a:gd name="connsiteY7" fmla="*/ 2285999 h 2285999"/>
              <a:gd name="connsiteX8" fmla="*/ 1181100 w 2295525"/>
              <a:gd name="connsiteY8" fmla="*/ 0 h 2285999"/>
              <a:gd name="connsiteX9" fmla="*/ 2295525 w 2295525"/>
              <a:gd name="connsiteY9" fmla="*/ 0 h 2285999"/>
              <a:gd name="connsiteX10" fmla="*/ 2295525 w 2295525"/>
              <a:gd name="connsiteY10" fmla="*/ 1114424 h 2285999"/>
              <a:gd name="connsiteX11" fmla="*/ 1181100 w 2295525"/>
              <a:gd name="connsiteY11" fmla="*/ 1114424 h 2285999"/>
              <a:gd name="connsiteX12" fmla="*/ 0 w 2295525"/>
              <a:gd name="connsiteY12" fmla="*/ 0 h 2285999"/>
              <a:gd name="connsiteX13" fmla="*/ 1114425 w 2295525"/>
              <a:gd name="connsiteY13" fmla="*/ 0 h 2285999"/>
              <a:gd name="connsiteX14" fmla="*/ 1114425 w 2295525"/>
              <a:gd name="connsiteY14" fmla="*/ 1114424 h 2285999"/>
              <a:gd name="connsiteX15" fmla="*/ 0 w 2295525"/>
              <a:gd name="connsiteY15" fmla="*/ 1114424 h 228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95525" h="2285999">
                <a:moveTo>
                  <a:pt x="1181100" y="1171574"/>
                </a:moveTo>
                <a:lnTo>
                  <a:pt x="2295525" y="1171574"/>
                </a:lnTo>
                <a:lnTo>
                  <a:pt x="2295525" y="2285999"/>
                </a:lnTo>
                <a:lnTo>
                  <a:pt x="1181100" y="2285999"/>
                </a:lnTo>
                <a:close/>
                <a:moveTo>
                  <a:pt x="0" y="1171574"/>
                </a:moveTo>
                <a:lnTo>
                  <a:pt x="1114425" y="1171574"/>
                </a:lnTo>
                <a:lnTo>
                  <a:pt x="1114425" y="2285999"/>
                </a:lnTo>
                <a:lnTo>
                  <a:pt x="0" y="2285999"/>
                </a:lnTo>
                <a:close/>
                <a:moveTo>
                  <a:pt x="1181100" y="0"/>
                </a:moveTo>
                <a:lnTo>
                  <a:pt x="2295525" y="0"/>
                </a:lnTo>
                <a:lnTo>
                  <a:pt x="2295525" y="1114424"/>
                </a:lnTo>
                <a:lnTo>
                  <a:pt x="1181100" y="1114424"/>
                </a:lnTo>
                <a:close/>
                <a:moveTo>
                  <a:pt x="0" y="0"/>
                </a:moveTo>
                <a:lnTo>
                  <a:pt x="1114425" y="0"/>
                </a:lnTo>
                <a:lnTo>
                  <a:pt x="1114425" y="1114424"/>
                </a:lnTo>
                <a:lnTo>
                  <a:pt x="0" y="1114424"/>
                </a:lnTo>
                <a:close/>
              </a:path>
            </a:pathLst>
          </a:custGeom>
          <a:ln>
            <a:noFill/>
          </a:ln>
        </p:spPr>
        <p:txBody>
          <a:bodyPr wrap="square" tIns="1080000" anchor="ctr">
            <a:noAutofit/>
          </a:bodyPr>
          <a:lstStyle>
            <a:lvl1pPr marL="0" indent="0" algn="ctr">
              <a:buNone/>
              <a:defRPr sz="1529" baseline="0"/>
            </a:lvl1pPr>
          </a:lstStyle>
          <a:p>
            <a:r>
              <a:rPr lang="ru-RU" dirty="0"/>
              <a:t>Вставьте изображение по тематике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4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6378678" y="3145653"/>
            <a:ext cx="7373703" cy="1312544"/>
          </a:xfrm>
          <a:noFill/>
        </p:spPr>
        <p:txBody>
          <a:bodyPr tIns="0" bIns="0" anchor="t">
            <a:normAutofit/>
          </a:bodyPr>
          <a:lstStyle>
            <a:lvl1pPr marL="0" indent="0">
              <a:buNone/>
              <a:defRPr sz="2548" b="1" baseline="0">
                <a:solidFill>
                  <a:schemeClr val="bg1"/>
                </a:solidFill>
                <a:latin typeface="+mj-lt"/>
                <a:ea typeface="Stem Bold" panose="020B0703020203020204" pitchFamily="34" charset="-52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ДЛИННОГО НАЗВАНИЯ ПРЕЗЕНТАЦИИ </a:t>
            </a:r>
          </a:p>
        </p:txBody>
      </p:sp>
      <p:sp>
        <p:nvSpPr>
          <p:cNvPr id="45" name="Рисунок 40"/>
          <p:cNvSpPr>
            <a:spLocks noGrp="1"/>
          </p:cNvSpPr>
          <p:nvPr>
            <p:ph type="pic" sz="quarter" idx="16" hasCustomPrompt="1"/>
          </p:nvPr>
        </p:nvSpPr>
        <p:spPr>
          <a:xfrm>
            <a:off x="3304615" y="6044189"/>
            <a:ext cx="1419731" cy="1407746"/>
          </a:xfrm>
          <a:ln>
            <a:noFill/>
          </a:ln>
        </p:spPr>
        <p:txBody>
          <a:bodyPr tIns="792000" anchor="ctr">
            <a:normAutofit/>
          </a:bodyPr>
          <a:lstStyle>
            <a:lvl1pPr marL="0" indent="0" algn="ctr">
              <a:buNone/>
              <a:defRPr sz="1529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ьте изображение</a:t>
            </a:r>
          </a:p>
        </p:txBody>
      </p:sp>
      <p:sp>
        <p:nvSpPr>
          <p:cNvPr id="46" name="Рисунок 40"/>
          <p:cNvSpPr>
            <a:spLocks noGrp="1"/>
          </p:cNvSpPr>
          <p:nvPr>
            <p:ph type="pic" sz="quarter" idx="17" hasCustomPrompt="1"/>
          </p:nvPr>
        </p:nvSpPr>
        <p:spPr>
          <a:xfrm>
            <a:off x="7818632" y="4540231"/>
            <a:ext cx="2924404" cy="1407746"/>
          </a:xfrm>
          <a:ln>
            <a:noFill/>
          </a:ln>
        </p:spPr>
        <p:txBody>
          <a:bodyPr tIns="792000" anchor="ctr">
            <a:normAutofit/>
          </a:bodyPr>
          <a:lstStyle>
            <a:lvl1pPr marL="0" indent="0" algn="ctr">
              <a:buNone/>
              <a:defRPr sz="1529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ьте изображение</a:t>
            </a:r>
          </a:p>
        </p:txBody>
      </p:sp>
      <p:sp>
        <p:nvSpPr>
          <p:cNvPr id="48" name="Текст 20"/>
          <p:cNvSpPr>
            <a:spLocks noGrp="1"/>
          </p:cNvSpPr>
          <p:nvPr>
            <p:ph type="body" sz="quarter" idx="12" hasCustomPrompt="1"/>
          </p:nvPr>
        </p:nvSpPr>
        <p:spPr>
          <a:xfrm>
            <a:off x="1799943" y="7700298"/>
            <a:ext cx="11952436" cy="332964"/>
          </a:xfrm>
        </p:spPr>
        <p:txBody>
          <a:bodyPr tIns="0" bIns="0" anchor="t">
            <a:noAutofit/>
          </a:bodyPr>
          <a:lstStyle>
            <a:lvl1pPr marL="0" indent="0" algn="ctr">
              <a:buNone/>
              <a:defRPr sz="1529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582473" indent="0">
              <a:buNone/>
              <a:defRPr sz="2293">
                <a:solidFill>
                  <a:srgbClr val="004379"/>
                </a:solidFill>
                <a:latin typeface="+mj-lt"/>
              </a:defRPr>
            </a:lvl2pPr>
            <a:lvl3pPr marL="1164946" indent="0">
              <a:buNone/>
              <a:defRPr sz="2038">
                <a:solidFill>
                  <a:srgbClr val="004379"/>
                </a:solidFill>
                <a:latin typeface="+mj-lt"/>
              </a:defRPr>
            </a:lvl3pPr>
            <a:lvl4pPr marL="1747418" indent="0">
              <a:buNone/>
              <a:defRPr sz="1784">
                <a:solidFill>
                  <a:srgbClr val="004379"/>
                </a:solidFill>
                <a:latin typeface="+mj-lt"/>
              </a:defRPr>
            </a:lvl4pPr>
            <a:lvl5pPr marL="2329891" indent="0">
              <a:buNone/>
              <a:defRPr sz="1784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ДЕПАРТАМЕНТА ИЛИ ПОДРАЗДЕЛЕНИЯ</a:t>
            </a:r>
            <a:r>
              <a:rPr lang="en-US" dirty="0"/>
              <a:t> </a:t>
            </a:r>
            <a:r>
              <a:rPr lang="ru-RU" dirty="0"/>
              <a:t>И ГОД</a:t>
            </a:r>
          </a:p>
        </p:txBody>
      </p:sp>
    </p:spTree>
    <p:extLst>
      <p:ext uri="{BB962C8B-B14F-4D97-AF65-F5344CB8AC3E}">
        <p14:creationId xmlns:p14="http://schemas.microsoft.com/office/powerpoint/2010/main" val="297358673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персонал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3" name="Текст 18"/>
          <p:cNvSpPr>
            <a:spLocks noGrp="1"/>
          </p:cNvSpPr>
          <p:nvPr>
            <p:ph type="body" sz="quarter" idx="15" hasCustomPrompt="1"/>
          </p:nvPr>
        </p:nvSpPr>
        <p:spPr>
          <a:xfrm>
            <a:off x="1528942" y="4994326"/>
            <a:ext cx="2791694" cy="921082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338" b="0" baseline="0">
                <a:latin typeface="+mj-lt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Фамилия</a:t>
            </a:r>
            <a:br>
              <a:rPr lang="ru-RU" dirty="0"/>
            </a:br>
            <a:r>
              <a:rPr lang="ru-RU" dirty="0"/>
              <a:t>Имя Отчество</a:t>
            </a:r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17" hasCustomPrompt="1"/>
          </p:nvPr>
        </p:nvSpPr>
        <p:spPr>
          <a:xfrm>
            <a:off x="1538458" y="1979366"/>
            <a:ext cx="2782177" cy="2787940"/>
          </a:xfrm>
          <a:ln>
            <a:noFill/>
          </a:ln>
        </p:spPr>
        <p:txBody>
          <a:bodyPr tIns="900000" anchor="ctr">
            <a:normAutofit/>
          </a:bodyPr>
          <a:lstStyle>
            <a:lvl1pPr marL="0" indent="0" algn="ctr">
              <a:buNone/>
              <a:defRPr sz="2038" baseline="0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Фотография 1</a:t>
            </a:r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18" hasCustomPrompt="1"/>
          </p:nvPr>
        </p:nvSpPr>
        <p:spPr>
          <a:xfrm>
            <a:off x="11267498" y="1979366"/>
            <a:ext cx="2782177" cy="2787940"/>
          </a:xfrm>
          <a:ln>
            <a:noFill/>
          </a:ln>
        </p:spPr>
        <p:txBody>
          <a:bodyPr tIns="900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Фотография 4</a:t>
            </a:r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19" hasCustomPrompt="1"/>
          </p:nvPr>
        </p:nvSpPr>
        <p:spPr>
          <a:xfrm>
            <a:off x="4782451" y="1988174"/>
            <a:ext cx="2782177" cy="2787940"/>
          </a:xfrm>
          <a:ln>
            <a:noFill/>
          </a:ln>
        </p:spPr>
        <p:txBody>
          <a:bodyPr tIns="900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Фотография 2</a:t>
            </a:r>
          </a:p>
        </p:txBody>
      </p:sp>
      <p:sp>
        <p:nvSpPr>
          <p:cNvPr id="19" name="Рисунок 14"/>
          <p:cNvSpPr>
            <a:spLocks noGrp="1"/>
          </p:cNvSpPr>
          <p:nvPr>
            <p:ph type="pic" sz="quarter" idx="20" hasCustomPrompt="1"/>
          </p:nvPr>
        </p:nvSpPr>
        <p:spPr>
          <a:xfrm>
            <a:off x="8032127" y="1980174"/>
            <a:ext cx="2782177" cy="2787940"/>
          </a:xfrm>
          <a:ln>
            <a:noFill/>
          </a:ln>
        </p:spPr>
        <p:txBody>
          <a:bodyPr tIns="900000" anchor="ctr">
            <a:normAutofit/>
          </a:bodyPr>
          <a:lstStyle>
            <a:lvl1pPr marL="0" indent="0" algn="ctr">
              <a:buNone/>
              <a:defRPr sz="2293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Фотография 3</a:t>
            </a:r>
          </a:p>
        </p:txBody>
      </p:sp>
      <p:sp>
        <p:nvSpPr>
          <p:cNvPr id="21" name="Текст 18"/>
          <p:cNvSpPr>
            <a:spLocks noGrp="1"/>
          </p:cNvSpPr>
          <p:nvPr>
            <p:ph type="body" sz="quarter" idx="21" hasCustomPrompt="1"/>
          </p:nvPr>
        </p:nvSpPr>
        <p:spPr>
          <a:xfrm>
            <a:off x="4782451" y="4975721"/>
            <a:ext cx="2791694" cy="921082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338" b="0" baseline="0">
                <a:latin typeface="+mj-lt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Фамилия</a:t>
            </a:r>
            <a:br>
              <a:rPr lang="ru-RU" dirty="0"/>
            </a:br>
            <a:r>
              <a:rPr lang="ru-RU" dirty="0"/>
              <a:t>Имя Отчество</a:t>
            </a:r>
          </a:p>
        </p:txBody>
      </p:sp>
      <p:sp>
        <p:nvSpPr>
          <p:cNvPr id="22" name="Текст 18"/>
          <p:cNvSpPr>
            <a:spLocks noGrp="1"/>
          </p:cNvSpPr>
          <p:nvPr>
            <p:ph type="body" sz="quarter" idx="22" hasCustomPrompt="1"/>
          </p:nvPr>
        </p:nvSpPr>
        <p:spPr>
          <a:xfrm>
            <a:off x="8035960" y="4975720"/>
            <a:ext cx="2791694" cy="921082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338" b="0" baseline="0">
                <a:latin typeface="+mj-lt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Фамилия</a:t>
            </a:r>
            <a:br>
              <a:rPr lang="ru-RU" dirty="0"/>
            </a:br>
            <a:r>
              <a:rPr lang="ru-RU" dirty="0"/>
              <a:t>Имя Отчество</a:t>
            </a:r>
          </a:p>
        </p:txBody>
      </p:sp>
      <p:sp>
        <p:nvSpPr>
          <p:cNvPr id="23" name="Текст 18"/>
          <p:cNvSpPr>
            <a:spLocks noGrp="1"/>
          </p:cNvSpPr>
          <p:nvPr>
            <p:ph type="body" sz="quarter" idx="23" hasCustomPrompt="1"/>
          </p:nvPr>
        </p:nvSpPr>
        <p:spPr>
          <a:xfrm>
            <a:off x="1539543" y="5940337"/>
            <a:ext cx="2791694" cy="921082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529" b="0" baseline="0"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Должность</a:t>
            </a:r>
          </a:p>
        </p:txBody>
      </p:sp>
      <p:sp>
        <p:nvSpPr>
          <p:cNvPr id="24" name="Текст 18"/>
          <p:cNvSpPr>
            <a:spLocks noGrp="1"/>
          </p:cNvSpPr>
          <p:nvPr>
            <p:ph type="body" sz="quarter" idx="24" hasCustomPrompt="1"/>
          </p:nvPr>
        </p:nvSpPr>
        <p:spPr>
          <a:xfrm>
            <a:off x="4782451" y="5922922"/>
            <a:ext cx="2791694" cy="921082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529" b="0" baseline="0"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Должность</a:t>
            </a:r>
          </a:p>
        </p:txBody>
      </p:sp>
      <p:sp>
        <p:nvSpPr>
          <p:cNvPr id="25" name="Текст 18"/>
          <p:cNvSpPr>
            <a:spLocks noGrp="1"/>
          </p:cNvSpPr>
          <p:nvPr>
            <p:ph type="body" sz="quarter" idx="25" hasCustomPrompt="1"/>
          </p:nvPr>
        </p:nvSpPr>
        <p:spPr>
          <a:xfrm>
            <a:off x="8035960" y="5915408"/>
            <a:ext cx="2791694" cy="921082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529" b="0" baseline="0"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Должность</a:t>
            </a:r>
          </a:p>
        </p:txBody>
      </p:sp>
      <p:sp>
        <p:nvSpPr>
          <p:cNvPr id="26" name="Текст 18"/>
          <p:cNvSpPr>
            <a:spLocks noGrp="1"/>
          </p:cNvSpPr>
          <p:nvPr>
            <p:ph type="body" sz="quarter" idx="26" hasCustomPrompt="1"/>
          </p:nvPr>
        </p:nvSpPr>
        <p:spPr>
          <a:xfrm>
            <a:off x="1528941" y="6888731"/>
            <a:ext cx="2791694" cy="1168415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529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Комментарий</a:t>
            </a:r>
          </a:p>
        </p:txBody>
      </p:sp>
      <p:sp>
        <p:nvSpPr>
          <p:cNvPr id="27" name="Текст 18"/>
          <p:cNvSpPr>
            <a:spLocks noGrp="1"/>
          </p:cNvSpPr>
          <p:nvPr>
            <p:ph type="body" sz="quarter" idx="27" hasCustomPrompt="1"/>
          </p:nvPr>
        </p:nvSpPr>
        <p:spPr>
          <a:xfrm>
            <a:off x="4781628" y="6871317"/>
            <a:ext cx="2791694" cy="1168415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529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Комментарий</a:t>
            </a:r>
          </a:p>
        </p:txBody>
      </p:sp>
      <p:sp>
        <p:nvSpPr>
          <p:cNvPr id="28" name="Текст 18"/>
          <p:cNvSpPr>
            <a:spLocks noGrp="1"/>
          </p:cNvSpPr>
          <p:nvPr>
            <p:ph type="body" sz="quarter" idx="28" hasCustomPrompt="1"/>
          </p:nvPr>
        </p:nvSpPr>
        <p:spPr>
          <a:xfrm>
            <a:off x="8036381" y="6858635"/>
            <a:ext cx="2791694" cy="1168415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529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Комментарий</a:t>
            </a:r>
          </a:p>
        </p:txBody>
      </p:sp>
      <p:sp>
        <p:nvSpPr>
          <p:cNvPr id="29" name="Текст 18"/>
          <p:cNvSpPr>
            <a:spLocks noGrp="1"/>
          </p:cNvSpPr>
          <p:nvPr>
            <p:ph type="body" sz="quarter" idx="29" hasCustomPrompt="1"/>
          </p:nvPr>
        </p:nvSpPr>
        <p:spPr>
          <a:xfrm>
            <a:off x="11257981" y="4975719"/>
            <a:ext cx="2791694" cy="921082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338" b="0" baseline="0">
                <a:latin typeface="+mj-lt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Фамилия</a:t>
            </a:r>
            <a:br>
              <a:rPr lang="ru-RU" dirty="0"/>
            </a:br>
            <a:r>
              <a:rPr lang="ru-RU" dirty="0"/>
              <a:t>Имя Отчество</a:t>
            </a:r>
          </a:p>
        </p:txBody>
      </p:sp>
      <p:sp>
        <p:nvSpPr>
          <p:cNvPr id="30" name="Текст 18"/>
          <p:cNvSpPr>
            <a:spLocks noGrp="1"/>
          </p:cNvSpPr>
          <p:nvPr>
            <p:ph type="body" sz="quarter" idx="30" hasCustomPrompt="1"/>
          </p:nvPr>
        </p:nvSpPr>
        <p:spPr>
          <a:xfrm>
            <a:off x="11257981" y="5920655"/>
            <a:ext cx="2791694" cy="921082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529" b="0" baseline="0"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Должность</a:t>
            </a:r>
          </a:p>
        </p:txBody>
      </p:sp>
      <p:sp>
        <p:nvSpPr>
          <p:cNvPr id="31" name="Текст 18"/>
          <p:cNvSpPr>
            <a:spLocks noGrp="1"/>
          </p:cNvSpPr>
          <p:nvPr>
            <p:ph type="body" sz="quarter" idx="31" hasCustomPrompt="1"/>
          </p:nvPr>
        </p:nvSpPr>
        <p:spPr>
          <a:xfrm>
            <a:off x="11257981" y="6850444"/>
            <a:ext cx="2791694" cy="1168415"/>
          </a:xfrm>
        </p:spPr>
        <p:txBody>
          <a:bodyPr tIns="108000">
            <a:normAutofit/>
          </a:bodyPr>
          <a:lstStyle>
            <a:lvl1pPr marL="0" indent="0" algn="ctr">
              <a:buNone/>
              <a:defRPr sz="1529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Bliss Pro Light" panose="02000506050000020004" pitchFamily="50" charset="-52"/>
              </a:defRPr>
            </a:lvl1pPr>
            <a:lvl2pPr marL="582473" indent="0">
              <a:buNone/>
              <a:defRPr/>
            </a:lvl2pPr>
            <a:lvl3pPr marL="1164946" indent="0">
              <a:buNone/>
              <a:defRPr/>
            </a:lvl3pPr>
            <a:lvl4pPr marL="1747418" indent="0">
              <a:buNone/>
              <a:defRPr/>
            </a:lvl4pPr>
            <a:lvl5pPr marL="2329891" indent="0">
              <a:buNone/>
              <a:defRPr/>
            </a:lvl5pPr>
          </a:lstStyle>
          <a:p>
            <a:r>
              <a:rPr lang="ru-RU" dirty="0"/>
              <a:t>Комментарий</a:t>
            </a:r>
          </a:p>
        </p:txBody>
      </p:sp>
      <p:sp>
        <p:nvSpPr>
          <p:cNvPr id="34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 flipV="1">
            <a:off x="4547557" y="1854490"/>
            <a:ext cx="0" cy="5315895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 flipV="1">
            <a:off x="7787456" y="1854490"/>
            <a:ext cx="0" cy="5315895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 flipV="1">
            <a:off x="11039490" y="1854490"/>
            <a:ext cx="0" cy="5315895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4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20561597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6947">
          <p15:clr>
            <a:srgbClr val="FBAE40"/>
          </p15:clr>
        </p15:guide>
        <p15:guide id="3" orient="horz" pos="397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тремя изображениями и большим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Рисунок 26"/>
          <p:cNvSpPr>
            <a:spLocks noGrp="1"/>
          </p:cNvSpPr>
          <p:nvPr>
            <p:ph type="pic" sz="quarter" idx="26" hasCustomPrompt="1"/>
          </p:nvPr>
        </p:nvSpPr>
        <p:spPr>
          <a:xfrm>
            <a:off x="5771607" y="4733668"/>
            <a:ext cx="4004368" cy="2813255"/>
          </a:xfrm>
          <a:custGeom>
            <a:avLst/>
            <a:gdLst>
              <a:gd name="connsiteX0" fmla="*/ 55519 w 3143249"/>
              <a:gd name="connsiteY0" fmla="*/ 0 h 2204873"/>
              <a:gd name="connsiteX1" fmla="*/ 1194430 w 3143249"/>
              <a:gd name="connsiteY1" fmla="*/ 0 h 2204873"/>
              <a:gd name="connsiteX2" fmla="*/ 1194430 w 3143249"/>
              <a:gd name="connsiteY2" fmla="*/ 194116 h 2204873"/>
              <a:gd name="connsiteX3" fmla="*/ 1388195 w 3143249"/>
              <a:gd name="connsiteY3" fmla="*/ 387881 h 2204873"/>
              <a:gd name="connsiteX4" fmla="*/ 1755053 w 3143249"/>
              <a:gd name="connsiteY4" fmla="*/ 387881 h 2204873"/>
              <a:gd name="connsiteX5" fmla="*/ 1948818 w 3143249"/>
              <a:gd name="connsiteY5" fmla="*/ 194116 h 2204873"/>
              <a:gd name="connsiteX6" fmla="*/ 1948818 w 3143249"/>
              <a:gd name="connsiteY6" fmla="*/ 0 h 2204873"/>
              <a:gd name="connsiteX7" fmla="*/ 3087730 w 3143249"/>
              <a:gd name="connsiteY7" fmla="*/ 0 h 2204873"/>
              <a:gd name="connsiteX8" fmla="*/ 3143249 w 3143249"/>
              <a:gd name="connsiteY8" fmla="*/ 55519 h 2204873"/>
              <a:gd name="connsiteX9" fmla="*/ 3143249 w 3143249"/>
              <a:gd name="connsiteY9" fmla="*/ 2149354 h 2204873"/>
              <a:gd name="connsiteX10" fmla="*/ 3087730 w 3143249"/>
              <a:gd name="connsiteY10" fmla="*/ 2204873 h 2204873"/>
              <a:gd name="connsiteX11" fmla="*/ 55519 w 3143249"/>
              <a:gd name="connsiteY11" fmla="*/ 2204873 h 2204873"/>
              <a:gd name="connsiteX12" fmla="*/ 0 w 3143249"/>
              <a:gd name="connsiteY12" fmla="*/ 2149354 h 2204873"/>
              <a:gd name="connsiteX13" fmla="*/ 0 w 3143249"/>
              <a:gd name="connsiteY13" fmla="*/ 55519 h 2204873"/>
              <a:gd name="connsiteX14" fmla="*/ 55519 w 3143249"/>
              <a:gd name="connsiteY14" fmla="*/ 0 h 2204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143249" h="2204873">
                <a:moveTo>
                  <a:pt x="55519" y="0"/>
                </a:moveTo>
                <a:lnTo>
                  <a:pt x="1194430" y="0"/>
                </a:lnTo>
                <a:lnTo>
                  <a:pt x="1194430" y="194116"/>
                </a:lnTo>
                <a:cubicBezTo>
                  <a:pt x="1194430" y="301129"/>
                  <a:pt x="1281182" y="387881"/>
                  <a:pt x="1388195" y="387881"/>
                </a:cubicBezTo>
                <a:lnTo>
                  <a:pt x="1755053" y="387881"/>
                </a:lnTo>
                <a:cubicBezTo>
                  <a:pt x="1862066" y="387881"/>
                  <a:pt x="1948818" y="301129"/>
                  <a:pt x="1948818" y="194116"/>
                </a:cubicBezTo>
                <a:lnTo>
                  <a:pt x="1948818" y="0"/>
                </a:lnTo>
                <a:lnTo>
                  <a:pt x="3087730" y="0"/>
                </a:lnTo>
                <a:cubicBezTo>
                  <a:pt x="3118392" y="0"/>
                  <a:pt x="3143249" y="24857"/>
                  <a:pt x="3143249" y="55519"/>
                </a:cubicBezTo>
                <a:lnTo>
                  <a:pt x="3143249" y="2149354"/>
                </a:lnTo>
                <a:cubicBezTo>
                  <a:pt x="3143249" y="2180016"/>
                  <a:pt x="3118392" y="2204873"/>
                  <a:pt x="3087730" y="2204873"/>
                </a:cubicBezTo>
                <a:lnTo>
                  <a:pt x="55519" y="2204873"/>
                </a:lnTo>
                <a:cubicBezTo>
                  <a:pt x="24857" y="2204873"/>
                  <a:pt x="0" y="2180016"/>
                  <a:pt x="0" y="2149354"/>
                </a:cubicBezTo>
                <a:lnTo>
                  <a:pt x="0" y="55519"/>
                </a:lnTo>
                <a:cubicBezTo>
                  <a:pt x="0" y="24857"/>
                  <a:pt x="24857" y="0"/>
                  <a:pt x="55519" y="0"/>
                </a:cubicBezTo>
                <a:close/>
              </a:path>
            </a:pathLst>
          </a:custGeom>
          <a:ln>
            <a:noFill/>
          </a:ln>
        </p:spPr>
        <p:txBody>
          <a:bodyPr wrap="square" tIns="972000" anchor="ctr">
            <a:noAutofit/>
          </a:bodyPr>
          <a:lstStyle>
            <a:lvl1pPr marL="0" indent="0" algn="ctr">
              <a:buNone/>
              <a:defRPr sz="1401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2 в слайд.</a:t>
            </a:r>
          </a:p>
        </p:txBody>
      </p:sp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 b="0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8942" y="1777194"/>
            <a:ext cx="12520733" cy="2441944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2038" baseline="0">
                <a:solidFill>
                  <a:schemeClr val="tx1"/>
                </a:solidFill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текст о изображениях размещенных ниже.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 flipH="1">
            <a:off x="7293261" y="4235424"/>
            <a:ext cx="973193" cy="993151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9" name="Рисунок 28"/>
          <p:cNvSpPr>
            <a:spLocks noGrp="1"/>
          </p:cNvSpPr>
          <p:nvPr>
            <p:ph type="pic" sz="quarter" idx="27" hasCustomPrompt="1"/>
          </p:nvPr>
        </p:nvSpPr>
        <p:spPr>
          <a:xfrm>
            <a:off x="10014270" y="4733668"/>
            <a:ext cx="4004368" cy="2813255"/>
          </a:xfrm>
          <a:custGeom>
            <a:avLst/>
            <a:gdLst>
              <a:gd name="connsiteX0" fmla="*/ 55519 w 3143249"/>
              <a:gd name="connsiteY0" fmla="*/ 0 h 2204873"/>
              <a:gd name="connsiteX1" fmla="*/ 1194430 w 3143249"/>
              <a:gd name="connsiteY1" fmla="*/ 0 h 2204873"/>
              <a:gd name="connsiteX2" fmla="*/ 1194430 w 3143249"/>
              <a:gd name="connsiteY2" fmla="*/ 194116 h 2204873"/>
              <a:gd name="connsiteX3" fmla="*/ 1388195 w 3143249"/>
              <a:gd name="connsiteY3" fmla="*/ 387881 h 2204873"/>
              <a:gd name="connsiteX4" fmla="*/ 1755053 w 3143249"/>
              <a:gd name="connsiteY4" fmla="*/ 387881 h 2204873"/>
              <a:gd name="connsiteX5" fmla="*/ 1948818 w 3143249"/>
              <a:gd name="connsiteY5" fmla="*/ 194116 h 2204873"/>
              <a:gd name="connsiteX6" fmla="*/ 1948818 w 3143249"/>
              <a:gd name="connsiteY6" fmla="*/ 0 h 2204873"/>
              <a:gd name="connsiteX7" fmla="*/ 3087730 w 3143249"/>
              <a:gd name="connsiteY7" fmla="*/ 0 h 2204873"/>
              <a:gd name="connsiteX8" fmla="*/ 3143249 w 3143249"/>
              <a:gd name="connsiteY8" fmla="*/ 55519 h 2204873"/>
              <a:gd name="connsiteX9" fmla="*/ 3143249 w 3143249"/>
              <a:gd name="connsiteY9" fmla="*/ 2149354 h 2204873"/>
              <a:gd name="connsiteX10" fmla="*/ 3087730 w 3143249"/>
              <a:gd name="connsiteY10" fmla="*/ 2204873 h 2204873"/>
              <a:gd name="connsiteX11" fmla="*/ 55519 w 3143249"/>
              <a:gd name="connsiteY11" fmla="*/ 2204873 h 2204873"/>
              <a:gd name="connsiteX12" fmla="*/ 0 w 3143249"/>
              <a:gd name="connsiteY12" fmla="*/ 2149354 h 2204873"/>
              <a:gd name="connsiteX13" fmla="*/ 0 w 3143249"/>
              <a:gd name="connsiteY13" fmla="*/ 55519 h 2204873"/>
              <a:gd name="connsiteX14" fmla="*/ 55519 w 3143249"/>
              <a:gd name="connsiteY14" fmla="*/ 0 h 2204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143249" h="2204873">
                <a:moveTo>
                  <a:pt x="55519" y="0"/>
                </a:moveTo>
                <a:lnTo>
                  <a:pt x="1194430" y="0"/>
                </a:lnTo>
                <a:lnTo>
                  <a:pt x="1194430" y="194116"/>
                </a:lnTo>
                <a:cubicBezTo>
                  <a:pt x="1194430" y="301129"/>
                  <a:pt x="1281182" y="387881"/>
                  <a:pt x="1388195" y="387881"/>
                </a:cubicBezTo>
                <a:lnTo>
                  <a:pt x="1755053" y="387881"/>
                </a:lnTo>
                <a:cubicBezTo>
                  <a:pt x="1862066" y="387881"/>
                  <a:pt x="1948818" y="301129"/>
                  <a:pt x="1948818" y="194116"/>
                </a:cubicBezTo>
                <a:lnTo>
                  <a:pt x="1948818" y="0"/>
                </a:lnTo>
                <a:lnTo>
                  <a:pt x="3087730" y="0"/>
                </a:lnTo>
                <a:cubicBezTo>
                  <a:pt x="3118392" y="0"/>
                  <a:pt x="3143249" y="24857"/>
                  <a:pt x="3143249" y="55519"/>
                </a:cubicBezTo>
                <a:lnTo>
                  <a:pt x="3143249" y="2149354"/>
                </a:lnTo>
                <a:cubicBezTo>
                  <a:pt x="3143249" y="2180016"/>
                  <a:pt x="3118392" y="2204873"/>
                  <a:pt x="3087730" y="2204873"/>
                </a:cubicBezTo>
                <a:lnTo>
                  <a:pt x="55519" y="2204873"/>
                </a:lnTo>
                <a:cubicBezTo>
                  <a:pt x="24857" y="2204873"/>
                  <a:pt x="0" y="2180016"/>
                  <a:pt x="0" y="2149354"/>
                </a:cubicBezTo>
                <a:lnTo>
                  <a:pt x="0" y="55519"/>
                </a:lnTo>
                <a:cubicBezTo>
                  <a:pt x="0" y="24857"/>
                  <a:pt x="24857" y="0"/>
                  <a:pt x="55519" y="0"/>
                </a:cubicBezTo>
                <a:close/>
              </a:path>
            </a:pathLst>
          </a:custGeom>
          <a:ln>
            <a:noFill/>
          </a:ln>
        </p:spPr>
        <p:txBody>
          <a:bodyPr wrap="square" tIns="972000" anchor="ctr">
            <a:noAutofit/>
          </a:bodyPr>
          <a:lstStyle>
            <a:lvl1pPr marL="0" indent="0" algn="ctr">
              <a:buNone/>
              <a:defRPr sz="1401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3 в слайд.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 flipH="1">
            <a:off x="11535923" y="4235424"/>
            <a:ext cx="961059" cy="993151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1" name="Рисунок 30"/>
          <p:cNvSpPr>
            <a:spLocks noGrp="1"/>
          </p:cNvSpPr>
          <p:nvPr>
            <p:ph type="pic" sz="quarter" idx="28" hasCustomPrompt="1"/>
          </p:nvPr>
        </p:nvSpPr>
        <p:spPr>
          <a:xfrm>
            <a:off x="1528943" y="4733668"/>
            <a:ext cx="4004368" cy="2813255"/>
          </a:xfrm>
          <a:custGeom>
            <a:avLst/>
            <a:gdLst>
              <a:gd name="connsiteX0" fmla="*/ 55519 w 3143249"/>
              <a:gd name="connsiteY0" fmla="*/ 0 h 2204873"/>
              <a:gd name="connsiteX1" fmla="*/ 1194430 w 3143249"/>
              <a:gd name="connsiteY1" fmla="*/ 0 h 2204873"/>
              <a:gd name="connsiteX2" fmla="*/ 1194430 w 3143249"/>
              <a:gd name="connsiteY2" fmla="*/ 194116 h 2204873"/>
              <a:gd name="connsiteX3" fmla="*/ 1388195 w 3143249"/>
              <a:gd name="connsiteY3" fmla="*/ 387881 h 2204873"/>
              <a:gd name="connsiteX4" fmla="*/ 1755053 w 3143249"/>
              <a:gd name="connsiteY4" fmla="*/ 387881 h 2204873"/>
              <a:gd name="connsiteX5" fmla="*/ 1948818 w 3143249"/>
              <a:gd name="connsiteY5" fmla="*/ 194116 h 2204873"/>
              <a:gd name="connsiteX6" fmla="*/ 1948818 w 3143249"/>
              <a:gd name="connsiteY6" fmla="*/ 0 h 2204873"/>
              <a:gd name="connsiteX7" fmla="*/ 3087730 w 3143249"/>
              <a:gd name="connsiteY7" fmla="*/ 0 h 2204873"/>
              <a:gd name="connsiteX8" fmla="*/ 3143249 w 3143249"/>
              <a:gd name="connsiteY8" fmla="*/ 55519 h 2204873"/>
              <a:gd name="connsiteX9" fmla="*/ 3143249 w 3143249"/>
              <a:gd name="connsiteY9" fmla="*/ 2149354 h 2204873"/>
              <a:gd name="connsiteX10" fmla="*/ 3087730 w 3143249"/>
              <a:gd name="connsiteY10" fmla="*/ 2204873 h 2204873"/>
              <a:gd name="connsiteX11" fmla="*/ 55519 w 3143249"/>
              <a:gd name="connsiteY11" fmla="*/ 2204873 h 2204873"/>
              <a:gd name="connsiteX12" fmla="*/ 0 w 3143249"/>
              <a:gd name="connsiteY12" fmla="*/ 2149354 h 2204873"/>
              <a:gd name="connsiteX13" fmla="*/ 0 w 3143249"/>
              <a:gd name="connsiteY13" fmla="*/ 55519 h 2204873"/>
              <a:gd name="connsiteX14" fmla="*/ 55519 w 3143249"/>
              <a:gd name="connsiteY14" fmla="*/ 0 h 2204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143249" h="2204873">
                <a:moveTo>
                  <a:pt x="55519" y="0"/>
                </a:moveTo>
                <a:lnTo>
                  <a:pt x="1194430" y="0"/>
                </a:lnTo>
                <a:lnTo>
                  <a:pt x="1194430" y="194116"/>
                </a:lnTo>
                <a:cubicBezTo>
                  <a:pt x="1194430" y="301129"/>
                  <a:pt x="1281182" y="387881"/>
                  <a:pt x="1388195" y="387881"/>
                </a:cubicBezTo>
                <a:lnTo>
                  <a:pt x="1755053" y="387881"/>
                </a:lnTo>
                <a:cubicBezTo>
                  <a:pt x="1862066" y="387881"/>
                  <a:pt x="1948818" y="301129"/>
                  <a:pt x="1948818" y="194116"/>
                </a:cubicBezTo>
                <a:lnTo>
                  <a:pt x="1948818" y="0"/>
                </a:lnTo>
                <a:lnTo>
                  <a:pt x="3087730" y="0"/>
                </a:lnTo>
                <a:cubicBezTo>
                  <a:pt x="3118392" y="0"/>
                  <a:pt x="3143249" y="24857"/>
                  <a:pt x="3143249" y="55519"/>
                </a:cubicBezTo>
                <a:lnTo>
                  <a:pt x="3143249" y="2149354"/>
                </a:lnTo>
                <a:cubicBezTo>
                  <a:pt x="3143249" y="2180016"/>
                  <a:pt x="3118392" y="2204873"/>
                  <a:pt x="3087730" y="2204873"/>
                </a:cubicBezTo>
                <a:lnTo>
                  <a:pt x="55519" y="2204873"/>
                </a:lnTo>
                <a:cubicBezTo>
                  <a:pt x="24857" y="2204873"/>
                  <a:pt x="0" y="2180016"/>
                  <a:pt x="0" y="2149354"/>
                </a:cubicBezTo>
                <a:lnTo>
                  <a:pt x="0" y="55519"/>
                </a:lnTo>
                <a:cubicBezTo>
                  <a:pt x="0" y="24857"/>
                  <a:pt x="24857" y="0"/>
                  <a:pt x="55519" y="0"/>
                </a:cubicBezTo>
                <a:close/>
              </a:path>
            </a:pathLst>
          </a:custGeom>
          <a:ln>
            <a:noFill/>
          </a:ln>
        </p:spPr>
        <p:txBody>
          <a:bodyPr wrap="square" tIns="972000" anchor="ctr">
            <a:noAutofit/>
          </a:bodyPr>
          <a:lstStyle>
            <a:lvl1pPr marL="0" indent="0" algn="ctr">
              <a:buNone/>
              <a:defRPr sz="1401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1 в слайд.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 flipH="1">
            <a:off x="3050596" y="4235424"/>
            <a:ext cx="961059" cy="993151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3998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данными максимального размер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9" name="Объект 18"/>
          <p:cNvSpPr>
            <a:spLocks noGrp="1"/>
          </p:cNvSpPr>
          <p:nvPr>
            <p:ph sz="quarter" idx="12" hasCustomPrompt="1"/>
          </p:nvPr>
        </p:nvSpPr>
        <p:spPr>
          <a:xfrm>
            <a:off x="1528942" y="1756138"/>
            <a:ext cx="12520734" cy="6248767"/>
          </a:xfrm>
        </p:spPr>
        <p:txBody>
          <a:bodyPr tIns="1152000" anchor="ctr">
            <a:normAutofit/>
          </a:bodyPr>
          <a:lstStyle>
            <a:lvl1pPr marL="0" indent="0" algn="ctr">
              <a:buNone/>
              <a:defRPr sz="2293" baseline="0"/>
            </a:lvl1pPr>
          </a:lstStyle>
          <a:p>
            <a:r>
              <a:rPr lang="ru-RU" dirty="0"/>
              <a:t>Вставьте необходимые данные. Они будут отображаться на весь слайд.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sz="quarter" idx="13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15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16864061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>
          <p15:clr>
            <a:srgbClr val="547EBF"/>
          </p15:clr>
        </p15:guide>
        <p15:guide id="2" orient="horz" pos="3952">
          <p15:clr>
            <a:srgbClr val="547EBF"/>
          </p15:clr>
        </p15:guide>
        <p15:guide id="3" pos="756">
          <p15:clr>
            <a:srgbClr val="547EBF"/>
          </p15:clr>
        </p15:guide>
        <p15:guide id="4" pos="6947">
          <p15:clr>
            <a:srgbClr val="547EB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панорамнным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36" name="Рисунок 3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756138"/>
            <a:ext cx="15532100" cy="2959302"/>
          </a:xfrm>
          <a:custGeom>
            <a:avLst/>
            <a:gdLst>
              <a:gd name="connsiteX0" fmla="*/ 0 w 12192000"/>
              <a:gd name="connsiteY0" fmla="*/ 0 h 2319337"/>
              <a:gd name="connsiteX1" fmla="*/ 12192000 w 12192000"/>
              <a:gd name="connsiteY1" fmla="*/ 0 h 2319337"/>
              <a:gd name="connsiteX2" fmla="*/ 12192000 w 12192000"/>
              <a:gd name="connsiteY2" fmla="*/ 2319337 h 2319337"/>
              <a:gd name="connsiteX3" fmla="*/ 9821055 w 12192000"/>
              <a:gd name="connsiteY3" fmla="*/ 2319337 h 2319337"/>
              <a:gd name="connsiteX4" fmla="*/ 9821055 w 12192000"/>
              <a:gd name="connsiteY4" fmla="*/ 2181584 h 2319337"/>
              <a:gd name="connsiteX5" fmla="*/ 9684472 w 12192000"/>
              <a:gd name="connsiteY5" fmla="*/ 2045001 h 2319337"/>
              <a:gd name="connsiteX6" fmla="*/ 9425877 w 12192000"/>
              <a:gd name="connsiteY6" fmla="*/ 2045001 h 2319337"/>
              <a:gd name="connsiteX7" fmla="*/ 9289294 w 12192000"/>
              <a:gd name="connsiteY7" fmla="*/ 2181584 h 2319337"/>
              <a:gd name="connsiteX8" fmla="*/ 9289294 w 12192000"/>
              <a:gd name="connsiteY8" fmla="*/ 2319337 h 2319337"/>
              <a:gd name="connsiteX9" fmla="*/ 6361880 w 12192000"/>
              <a:gd name="connsiteY9" fmla="*/ 2319337 h 2319337"/>
              <a:gd name="connsiteX10" fmla="*/ 6361880 w 12192000"/>
              <a:gd name="connsiteY10" fmla="*/ 2190892 h 2319337"/>
              <a:gd name="connsiteX11" fmla="*/ 6225297 w 12192000"/>
              <a:gd name="connsiteY11" fmla="*/ 2054309 h 2319337"/>
              <a:gd name="connsiteX12" fmla="*/ 5966702 w 12192000"/>
              <a:gd name="connsiteY12" fmla="*/ 2054309 h 2319337"/>
              <a:gd name="connsiteX13" fmla="*/ 5830119 w 12192000"/>
              <a:gd name="connsiteY13" fmla="*/ 2190892 h 2319337"/>
              <a:gd name="connsiteX14" fmla="*/ 5830119 w 12192000"/>
              <a:gd name="connsiteY14" fmla="*/ 2319337 h 2319337"/>
              <a:gd name="connsiteX15" fmla="*/ 2902705 w 12192000"/>
              <a:gd name="connsiteY15" fmla="*/ 2319337 h 2319337"/>
              <a:gd name="connsiteX16" fmla="*/ 2902705 w 12192000"/>
              <a:gd name="connsiteY16" fmla="*/ 2190892 h 2319337"/>
              <a:gd name="connsiteX17" fmla="*/ 2766122 w 12192000"/>
              <a:gd name="connsiteY17" fmla="*/ 2054309 h 2319337"/>
              <a:gd name="connsiteX18" fmla="*/ 2507527 w 12192000"/>
              <a:gd name="connsiteY18" fmla="*/ 2054309 h 2319337"/>
              <a:gd name="connsiteX19" fmla="*/ 2370944 w 12192000"/>
              <a:gd name="connsiteY19" fmla="*/ 2190892 h 2319337"/>
              <a:gd name="connsiteX20" fmla="*/ 2370944 w 12192000"/>
              <a:gd name="connsiteY20" fmla="*/ 2319337 h 2319337"/>
              <a:gd name="connsiteX21" fmla="*/ 0 w 12192000"/>
              <a:gd name="connsiteY21" fmla="*/ 2319337 h 231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2319337">
                <a:moveTo>
                  <a:pt x="0" y="0"/>
                </a:moveTo>
                <a:lnTo>
                  <a:pt x="12192000" y="0"/>
                </a:lnTo>
                <a:lnTo>
                  <a:pt x="12192000" y="2319337"/>
                </a:lnTo>
                <a:lnTo>
                  <a:pt x="9821055" y="2319337"/>
                </a:lnTo>
                <a:lnTo>
                  <a:pt x="9821055" y="2181584"/>
                </a:lnTo>
                <a:cubicBezTo>
                  <a:pt x="9821055" y="2106151"/>
                  <a:pt x="9759905" y="2045001"/>
                  <a:pt x="9684472" y="2045001"/>
                </a:cubicBezTo>
                <a:lnTo>
                  <a:pt x="9425877" y="2045001"/>
                </a:lnTo>
                <a:cubicBezTo>
                  <a:pt x="9350444" y="2045001"/>
                  <a:pt x="9289294" y="2106151"/>
                  <a:pt x="9289294" y="2181584"/>
                </a:cubicBezTo>
                <a:lnTo>
                  <a:pt x="9289294" y="2319337"/>
                </a:lnTo>
                <a:lnTo>
                  <a:pt x="6361880" y="2319337"/>
                </a:lnTo>
                <a:lnTo>
                  <a:pt x="6361880" y="2190892"/>
                </a:lnTo>
                <a:cubicBezTo>
                  <a:pt x="6361880" y="2115459"/>
                  <a:pt x="6300730" y="2054309"/>
                  <a:pt x="6225297" y="2054309"/>
                </a:cubicBezTo>
                <a:lnTo>
                  <a:pt x="5966702" y="2054309"/>
                </a:lnTo>
                <a:cubicBezTo>
                  <a:pt x="5891269" y="2054309"/>
                  <a:pt x="5830119" y="2115459"/>
                  <a:pt x="5830119" y="2190892"/>
                </a:cubicBezTo>
                <a:lnTo>
                  <a:pt x="5830119" y="2319337"/>
                </a:lnTo>
                <a:lnTo>
                  <a:pt x="2902705" y="2319337"/>
                </a:lnTo>
                <a:lnTo>
                  <a:pt x="2902705" y="2190892"/>
                </a:lnTo>
                <a:cubicBezTo>
                  <a:pt x="2902705" y="2115459"/>
                  <a:pt x="2841555" y="2054309"/>
                  <a:pt x="2766122" y="2054309"/>
                </a:cubicBezTo>
                <a:lnTo>
                  <a:pt x="2507527" y="2054309"/>
                </a:lnTo>
                <a:cubicBezTo>
                  <a:pt x="2432094" y="2054309"/>
                  <a:pt x="2370944" y="2115459"/>
                  <a:pt x="2370944" y="2190892"/>
                </a:cubicBezTo>
                <a:lnTo>
                  <a:pt x="2370944" y="2319337"/>
                </a:lnTo>
                <a:lnTo>
                  <a:pt x="0" y="2319337"/>
                </a:lnTo>
                <a:close/>
              </a:path>
            </a:pathLst>
          </a:custGeom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2548" baseline="0"/>
            </a:lvl1pPr>
          </a:lstStyle>
          <a:p>
            <a:r>
              <a:rPr lang="ru-RU" dirty="0"/>
              <a:t>Вставьте панорамное изображение.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4" hasCustomPrompt="1"/>
          </p:nvPr>
        </p:nvSpPr>
        <p:spPr>
          <a:xfrm>
            <a:off x="5920305" y="5223890"/>
            <a:ext cx="3691490" cy="528240"/>
          </a:xfrm>
        </p:spPr>
        <p:txBody>
          <a:bodyPr>
            <a:normAutofit/>
          </a:bodyPr>
          <a:lstStyle>
            <a:lvl1pPr marL="0" indent="0" algn="ctr">
              <a:buNone/>
              <a:defRPr sz="1911" baseline="0">
                <a:latin typeface="+mj-lt"/>
              </a:defRPr>
            </a:lvl1pPr>
          </a:lstStyle>
          <a:p>
            <a:pPr lvl="0"/>
            <a:r>
              <a:rPr lang="ru-RU" dirty="0"/>
              <a:t>Блок 2</a:t>
            </a:r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5" hasCustomPrompt="1"/>
          </p:nvPr>
        </p:nvSpPr>
        <p:spPr>
          <a:xfrm>
            <a:off x="5920304" y="5778778"/>
            <a:ext cx="3691489" cy="2080287"/>
          </a:xfrm>
        </p:spPr>
        <p:txBody>
          <a:bodyPr>
            <a:normAutofit/>
          </a:bodyPr>
          <a:lstStyle>
            <a:lvl1pPr marL="0" indent="0" algn="ctr">
              <a:buNone/>
              <a:defRPr sz="1784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блока 2</a:t>
            </a:r>
          </a:p>
        </p:txBody>
      </p:sp>
      <p:sp>
        <p:nvSpPr>
          <p:cNvPr id="28" name="Текст 19"/>
          <p:cNvSpPr>
            <a:spLocks noGrp="1"/>
          </p:cNvSpPr>
          <p:nvPr>
            <p:ph type="body" sz="quarter" idx="16" hasCustomPrompt="1"/>
          </p:nvPr>
        </p:nvSpPr>
        <p:spPr>
          <a:xfrm>
            <a:off x="1513463" y="5228355"/>
            <a:ext cx="3691490" cy="528240"/>
          </a:xfrm>
        </p:spPr>
        <p:txBody>
          <a:bodyPr>
            <a:normAutofit/>
          </a:bodyPr>
          <a:lstStyle>
            <a:lvl1pPr marL="0" indent="0" algn="ctr">
              <a:buNone/>
              <a:defRPr sz="1911" baseline="0">
                <a:latin typeface="+mj-lt"/>
              </a:defRPr>
            </a:lvl1pPr>
          </a:lstStyle>
          <a:p>
            <a:pPr lvl="0"/>
            <a:r>
              <a:rPr lang="ru-RU" dirty="0"/>
              <a:t>Блок 1</a:t>
            </a:r>
          </a:p>
        </p:txBody>
      </p:sp>
      <p:sp>
        <p:nvSpPr>
          <p:cNvPr id="29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1513462" y="5783243"/>
            <a:ext cx="3691489" cy="2080287"/>
          </a:xfrm>
        </p:spPr>
        <p:txBody>
          <a:bodyPr>
            <a:normAutofit/>
          </a:bodyPr>
          <a:lstStyle>
            <a:lvl1pPr marL="0" indent="0" algn="ctr">
              <a:buNone/>
              <a:defRPr sz="1784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блока 1</a:t>
            </a:r>
          </a:p>
        </p:txBody>
      </p:sp>
      <p:sp>
        <p:nvSpPr>
          <p:cNvPr id="30" name="Текст 19"/>
          <p:cNvSpPr>
            <a:spLocks noGrp="1"/>
          </p:cNvSpPr>
          <p:nvPr>
            <p:ph type="body" sz="quarter" idx="18" hasCustomPrompt="1"/>
          </p:nvPr>
        </p:nvSpPr>
        <p:spPr>
          <a:xfrm>
            <a:off x="10327146" y="5223890"/>
            <a:ext cx="3691490" cy="528240"/>
          </a:xfrm>
        </p:spPr>
        <p:txBody>
          <a:bodyPr>
            <a:normAutofit/>
          </a:bodyPr>
          <a:lstStyle>
            <a:lvl1pPr marL="0" indent="0" algn="ctr">
              <a:buNone/>
              <a:defRPr sz="1911" baseline="0">
                <a:latin typeface="+mj-lt"/>
              </a:defRPr>
            </a:lvl1pPr>
          </a:lstStyle>
          <a:p>
            <a:pPr lvl="0"/>
            <a:r>
              <a:rPr lang="ru-RU" dirty="0"/>
              <a:t>Блок 3</a:t>
            </a:r>
          </a:p>
        </p:txBody>
      </p:sp>
      <p:sp>
        <p:nvSpPr>
          <p:cNvPr id="31" name="Текст 19"/>
          <p:cNvSpPr>
            <a:spLocks noGrp="1"/>
          </p:cNvSpPr>
          <p:nvPr>
            <p:ph type="body" sz="quarter" idx="19" hasCustomPrompt="1"/>
          </p:nvPr>
        </p:nvSpPr>
        <p:spPr>
          <a:xfrm>
            <a:off x="10327145" y="5778778"/>
            <a:ext cx="3691489" cy="2080287"/>
          </a:xfrm>
        </p:spPr>
        <p:txBody>
          <a:bodyPr>
            <a:normAutofit/>
          </a:bodyPr>
          <a:lstStyle>
            <a:lvl1pPr marL="0" indent="0" algn="ctr">
              <a:buNone/>
              <a:defRPr sz="1784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блока 3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11834174" y="4365407"/>
            <a:ext cx="677441" cy="700064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7436603" y="4369107"/>
            <a:ext cx="662100" cy="684210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3020485" y="4369108"/>
            <a:ext cx="677441" cy="700064"/>
          </a:xfrm>
          <a:prstGeom prst="roundRect">
            <a:avLst>
              <a:gd name="adj" fmla="val 25685"/>
            </a:avLst>
          </a:prstGeom>
          <a:solidFill>
            <a:srgbClr val="006AB4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24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19541045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52">
          <p15:clr>
            <a:srgbClr val="547EBF"/>
          </p15:clr>
        </p15:guide>
        <p15:guide id="2" pos="756">
          <p15:clr>
            <a:srgbClr val="547EBF"/>
          </p15:clr>
        </p15:guide>
        <p15:guide id="3" pos="6947">
          <p15:clr>
            <a:srgbClr val="547EB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двумя изображениями и опис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2" name="Текст 19"/>
          <p:cNvSpPr>
            <a:spLocks noGrp="1"/>
          </p:cNvSpPr>
          <p:nvPr>
            <p:ph type="body" sz="quarter" idx="13" hasCustomPrompt="1"/>
          </p:nvPr>
        </p:nvSpPr>
        <p:spPr>
          <a:xfrm>
            <a:off x="1528942" y="7085312"/>
            <a:ext cx="12520734" cy="919593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56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Дополнительный комментарий.</a:t>
            </a:r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4491092" y="2254419"/>
            <a:ext cx="3167092" cy="4344766"/>
          </a:xfrm>
          <a:custGeom>
            <a:avLst/>
            <a:gdLst>
              <a:gd name="connsiteX0" fmla="*/ 0 w 2486025"/>
              <a:gd name="connsiteY0" fmla="*/ 0 h 3405187"/>
              <a:gd name="connsiteX1" fmla="*/ 2486025 w 2486025"/>
              <a:gd name="connsiteY1" fmla="*/ 0 h 3405187"/>
              <a:gd name="connsiteX2" fmla="*/ 2486025 w 2486025"/>
              <a:gd name="connsiteY2" fmla="*/ 3405187 h 3405187"/>
              <a:gd name="connsiteX3" fmla="*/ 0 w 2486025"/>
              <a:gd name="connsiteY3" fmla="*/ 3405187 h 3405187"/>
              <a:gd name="connsiteX4" fmla="*/ 0 w 2486025"/>
              <a:gd name="connsiteY4" fmla="*/ 2085307 h 3405187"/>
              <a:gd name="connsiteX5" fmla="*/ 659853 w 2486025"/>
              <a:gd name="connsiteY5" fmla="*/ 1702593 h 3405187"/>
              <a:gd name="connsiteX6" fmla="*/ 0 w 2486025"/>
              <a:gd name="connsiteY6" fmla="*/ 1319878 h 3405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86025" h="3405187">
                <a:moveTo>
                  <a:pt x="0" y="0"/>
                </a:moveTo>
                <a:lnTo>
                  <a:pt x="2486025" y="0"/>
                </a:lnTo>
                <a:lnTo>
                  <a:pt x="2486025" y="3405187"/>
                </a:lnTo>
                <a:lnTo>
                  <a:pt x="0" y="3405187"/>
                </a:lnTo>
                <a:lnTo>
                  <a:pt x="0" y="2085307"/>
                </a:lnTo>
                <a:lnTo>
                  <a:pt x="659853" y="1702593"/>
                </a:lnTo>
                <a:lnTo>
                  <a:pt x="0" y="1319878"/>
                </a:lnTo>
                <a:close/>
              </a:path>
            </a:pathLst>
          </a:custGeom>
          <a:ln>
            <a:noFill/>
          </a:ln>
        </p:spPr>
        <p:txBody>
          <a:bodyPr wrap="square" tIns="900000" anchor="ctr">
            <a:noAutofit/>
          </a:bodyPr>
          <a:lstStyle>
            <a:lvl1pPr marL="0" indent="0" algn="ctr">
              <a:buNone/>
              <a:defRPr sz="1529" baseline="0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1</a:t>
            </a:r>
          </a:p>
        </p:txBody>
      </p:sp>
      <p:sp>
        <p:nvSpPr>
          <p:cNvPr id="18" name="Текст 19"/>
          <p:cNvSpPr>
            <a:spLocks noGrp="1"/>
          </p:cNvSpPr>
          <p:nvPr>
            <p:ph type="body" sz="quarter" idx="18" hasCustomPrompt="1"/>
          </p:nvPr>
        </p:nvSpPr>
        <p:spPr>
          <a:xfrm>
            <a:off x="1421075" y="2254418"/>
            <a:ext cx="3070017" cy="4344766"/>
          </a:xfrm>
        </p:spPr>
        <p:txBody>
          <a:bodyPr>
            <a:normAutofit/>
          </a:bodyPr>
          <a:lstStyle>
            <a:lvl1pPr marL="0" indent="0" algn="l">
              <a:buNone/>
              <a:defRPr sz="1784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изображения 1</a:t>
            </a:r>
          </a:p>
        </p:txBody>
      </p:sp>
      <p:sp>
        <p:nvSpPr>
          <p:cNvPr id="19" name="Рисунок 18"/>
          <p:cNvSpPr>
            <a:spLocks noGrp="1"/>
          </p:cNvSpPr>
          <p:nvPr>
            <p:ph type="pic" sz="quarter" idx="19" hasCustomPrompt="1"/>
          </p:nvPr>
        </p:nvSpPr>
        <p:spPr>
          <a:xfrm>
            <a:off x="10882583" y="2254420"/>
            <a:ext cx="3167092" cy="4344766"/>
          </a:xfrm>
          <a:custGeom>
            <a:avLst/>
            <a:gdLst>
              <a:gd name="connsiteX0" fmla="*/ 0 w 2486025"/>
              <a:gd name="connsiteY0" fmla="*/ 0 h 3405187"/>
              <a:gd name="connsiteX1" fmla="*/ 2486025 w 2486025"/>
              <a:gd name="connsiteY1" fmla="*/ 0 h 3405187"/>
              <a:gd name="connsiteX2" fmla="*/ 2486025 w 2486025"/>
              <a:gd name="connsiteY2" fmla="*/ 3405187 h 3405187"/>
              <a:gd name="connsiteX3" fmla="*/ 0 w 2486025"/>
              <a:gd name="connsiteY3" fmla="*/ 3405187 h 3405187"/>
              <a:gd name="connsiteX4" fmla="*/ 0 w 2486025"/>
              <a:gd name="connsiteY4" fmla="*/ 2085307 h 3405187"/>
              <a:gd name="connsiteX5" fmla="*/ 659853 w 2486025"/>
              <a:gd name="connsiteY5" fmla="*/ 1702593 h 3405187"/>
              <a:gd name="connsiteX6" fmla="*/ 0 w 2486025"/>
              <a:gd name="connsiteY6" fmla="*/ 1319878 h 3405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86025" h="3405187">
                <a:moveTo>
                  <a:pt x="0" y="0"/>
                </a:moveTo>
                <a:lnTo>
                  <a:pt x="2486025" y="0"/>
                </a:lnTo>
                <a:lnTo>
                  <a:pt x="2486025" y="3405187"/>
                </a:lnTo>
                <a:lnTo>
                  <a:pt x="0" y="3405187"/>
                </a:lnTo>
                <a:lnTo>
                  <a:pt x="0" y="2085307"/>
                </a:lnTo>
                <a:lnTo>
                  <a:pt x="659853" y="1702593"/>
                </a:lnTo>
                <a:lnTo>
                  <a:pt x="0" y="1319878"/>
                </a:lnTo>
                <a:close/>
              </a:path>
            </a:pathLst>
          </a:custGeom>
          <a:ln>
            <a:noFill/>
          </a:ln>
        </p:spPr>
        <p:txBody>
          <a:bodyPr wrap="square" tIns="900000" anchor="ctr">
            <a:noAutofit/>
          </a:bodyPr>
          <a:lstStyle>
            <a:lvl1pPr marL="0" indent="0" algn="ctr">
              <a:buNone/>
              <a:defRPr sz="1529" baseline="0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изображение 2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20" hasCustomPrompt="1"/>
          </p:nvPr>
        </p:nvSpPr>
        <p:spPr>
          <a:xfrm>
            <a:off x="7812566" y="2254419"/>
            <a:ext cx="3070017" cy="4344766"/>
          </a:xfrm>
        </p:spPr>
        <p:txBody>
          <a:bodyPr>
            <a:normAutofit/>
          </a:bodyPr>
          <a:lstStyle>
            <a:lvl1pPr marL="0" indent="0" algn="l">
              <a:buNone/>
              <a:defRPr sz="1784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изображения 2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22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20761707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7">
          <p15:clr>
            <a:srgbClr val="547EBF"/>
          </p15:clr>
        </p15:guide>
        <p15:guide id="2" pos="756">
          <p15:clr>
            <a:srgbClr val="547EBF"/>
          </p15:clr>
        </p15:guide>
        <p15:guide id="3" pos="6947">
          <p15:clr>
            <a:srgbClr val="547EBF"/>
          </p15:clr>
        </p15:guide>
        <p15:guide id="4" orient="horz" pos="3952">
          <p15:clr>
            <a:srgbClr val="547EB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следовательность из тре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9" name="Рисунок 18"/>
          <p:cNvSpPr>
            <a:spLocks noGrp="1"/>
          </p:cNvSpPr>
          <p:nvPr>
            <p:ph type="pic" sz="quarter" idx="17" hasCustomPrompt="1"/>
          </p:nvPr>
        </p:nvSpPr>
        <p:spPr>
          <a:xfrm>
            <a:off x="1538460" y="1803994"/>
            <a:ext cx="2452427" cy="2787940"/>
          </a:xfrm>
          <a:custGeom>
            <a:avLst/>
            <a:gdLst>
              <a:gd name="connsiteX0" fmla="*/ 1073791 w 1925045"/>
              <a:gd name="connsiteY0" fmla="*/ 0 h 2185033"/>
              <a:gd name="connsiteX1" fmla="*/ 1110093 w 1925045"/>
              <a:gd name="connsiteY1" fmla="*/ 0 h 2185033"/>
              <a:gd name="connsiteX2" fmla="*/ 1925045 w 1925045"/>
              <a:gd name="connsiteY2" fmla="*/ 814952 h 2185033"/>
              <a:gd name="connsiteX3" fmla="*/ 1647482 w 1925045"/>
              <a:gd name="connsiteY3" fmla="*/ 1092515 h 2185033"/>
              <a:gd name="connsiteX4" fmla="*/ 1915971 w 1925045"/>
              <a:gd name="connsiteY4" fmla="*/ 1361004 h 2185033"/>
              <a:gd name="connsiteX5" fmla="*/ 1091942 w 1925045"/>
              <a:gd name="connsiteY5" fmla="*/ 2185033 h 2185033"/>
              <a:gd name="connsiteX6" fmla="*/ 0 w 1925045"/>
              <a:gd name="connsiteY6" fmla="*/ 1093091 h 2185033"/>
              <a:gd name="connsiteX7" fmla="*/ 0 w 1925045"/>
              <a:gd name="connsiteY7" fmla="*/ 1073791 h 218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5045" h="2185033">
                <a:moveTo>
                  <a:pt x="1073791" y="0"/>
                </a:moveTo>
                <a:lnTo>
                  <a:pt x="1110093" y="0"/>
                </a:lnTo>
                <a:lnTo>
                  <a:pt x="1925045" y="814952"/>
                </a:lnTo>
                <a:lnTo>
                  <a:pt x="1647482" y="1092515"/>
                </a:lnTo>
                <a:lnTo>
                  <a:pt x="1915971" y="1361004"/>
                </a:lnTo>
                <a:lnTo>
                  <a:pt x="1091942" y="2185033"/>
                </a:lnTo>
                <a:lnTo>
                  <a:pt x="0" y="1093091"/>
                </a:lnTo>
                <a:lnTo>
                  <a:pt x="0" y="1073791"/>
                </a:lnTo>
                <a:close/>
              </a:path>
            </a:pathLst>
          </a:custGeom>
          <a:ln>
            <a:noFill/>
          </a:ln>
        </p:spPr>
        <p:txBody>
          <a:bodyPr wrap="square" lIns="360000" tIns="900000" anchor="ctr">
            <a:noAutofit/>
          </a:bodyPr>
          <a:lstStyle>
            <a:lvl1pPr marL="0" indent="0" algn="ctr">
              <a:buNone/>
              <a:defRPr sz="1401" baseline="0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        изображение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V="1">
            <a:off x="1085290" y="3185808"/>
            <a:ext cx="13361521" cy="735"/>
          </a:xfrm>
          <a:prstGeom prst="line">
            <a:avLst/>
          </a:prstGeom>
          <a:ln w="31750" cap="rnd">
            <a:solidFill>
              <a:srgbClr val="006AB4"/>
            </a:solidFill>
            <a:prstDash val="dashDot"/>
            <a:miter lim="800000"/>
            <a:headEnd type="diamond" w="lg" len="lg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 rot="18900000">
            <a:off x="3837430" y="2714012"/>
            <a:ext cx="966407" cy="967900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3" name="Рисунок 22"/>
          <p:cNvSpPr>
            <a:spLocks noGrp="1"/>
          </p:cNvSpPr>
          <p:nvPr>
            <p:ph type="pic" sz="quarter" idx="18" hasCustomPrompt="1"/>
          </p:nvPr>
        </p:nvSpPr>
        <p:spPr>
          <a:xfrm>
            <a:off x="10584148" y="1803992"/>
            <a:ext cx="2452427" cy="2787940"/>
          </a:xfrm>
          <a:custGeom>
            <a:avLst/>
            <a:gdLst>
              <a:gd name="connsiteX0" fmla="*/ 1073791 w 1925045"/>
              <a:gd name="connsiteY0" fmla="*/ 0 h 2185033"/>
              <a:gd name="connsiteX1" fmla="*/ 1110093 w 1925045"/>
              <a:gd name="connsiteY1" fmla="*/ 0 h 2185033"/>
              <a:gd name="connsiteX2" fmla="*/ 1925045 w 1925045"/>
              <a:gd name="connsiteY2" fmla="*/ 814952 h 2185033"/>
              <a:gd name="connsiteX3" fmla="*/ 1647482 w 1925045"/>
              <a:gd name="connsiteY3" fmla="*/ 1092515 h 2185033"/>
              <a:gd name="connsiteX4" fmla="*/ 1915971 w 1925045"/>
              <a:gd name="connsiteY4" fmla="*/ 1361004 h 2185033"/>
              <a:gd name="connsiteX5" fmla="*/ 1091942 w 1925045"/>
              <a:gd name="connsiteY5" fmla="*/ 2185033 h 2185033"/>
              <a:gd name="connsiteX6" fmla="*/ 0 w 1925045"/>
              <a:gd name="connsiteY6" fmla="*/ 1093091 h 2185033"/>
              <a:gd name="connsiteX7" fmla="*/ 0 w 1925045"/>
              <a:gd name="connsiteY7" fmla="*/ 1073791 h 218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5045" h="2185033">
                <a:moveTo>
                  <a:pt x="1073791" y="0"/>
                </a:moveTo>
                <a:lnTo>
                  <a:pt x="1110093" y="0"/>
                </a:lnTo>
                <a:lnTo>
                  <a:pt x="1925045" y="814952"/>
                </a:lnTo>
                <a:lnTo>
                  <a:pt x="1647482" y="1092515"/>
                </a:lnTo>
                <a:lnTo>
                  <a:pt x="1915971" y="1361004"/>
                </a:lnTo>
                <a:lnTo>
                  <a:pt x="1091942" y="2185033"/>
                </a:lnTo>
                <a:lnTo>
                  <a:pt x="0" y="1093091"/>
                </a:lnTo>
                <a:lnTo>
                  <a:pt x="0" y="1073791"/>
                </a:lnTo>
                <a:close/>
              </a:path>
            </a:pathLst>
          </a:custGeom>
          <a:ln>
            <a:noFill/>
          </a:ln>
        </p:spPr>
        <p:txBody>
          <a:bodyPr wrap="square" lIns="360000" tIns="900000" anchor="ctr">
            <a:noAutofit/>
          </a:bodyPr>
          <a:lstStyle>
            <a:lvl1pPr marL="0" indent="0" algn="ctr">
              <a:buNone/>
              <a:defRPr sz="1401" baseline="0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        изображение</a:t>
            </a:r>
          </a:p>
        </p:txBody>
      </p:sp>
      <p:sp>
        <p:nvSpPr>
          <p:cNvPr id="24" name="Прямоугольник 23"/>
          <p:cNvSpPr/>
          <p:nvPr/>
        </p:nvSpPr>
        <p:spPr>
          <a:xfrm rot="18900000">
            <a:off x="12870984" y="2714009"/>
            <a:ext cx="966407" cy="967900"/>
          </a:xfrm>
          <a:prstGeom prst="rect">
            <a:avLst/>
          </a:prstGeom>
          <a:solidFill>
            <a:srgbClr val="7821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5" name="Рисунок 24"/>
          <p:cNvSpPr>
            <a:spLocks noGrp="1"/>
          </p:cNvSpPr>
          <p:nvPr>
            <p:ph type="pic" sz="quarter" idx="19" hasCustomPrompt="1"/>
          </p:nvPr>
        </p:nvSpPr>
        <p:spPr>
          <a:xfrm>
            <a:off x="6061305" y="1805153"/>
            <a:ext cx="2452427" cy="2787940"/>
          </a:xfrm>
          <a:custGeom>
            <a:avLst/>
            <a:gdLst>
              <a:gd name="connsiteX0" fmla="*/ 1073791 w 1925045"/>
              <a:gd name="connsiteY0" fmla="*/ 0 h 2185033"/>
              <a:gd name="connsiteX1" fmla="*/ 1110093 w 1925045"/>
              <a:gd name="connsiteY1" fmla="*/ 0 h 2185033"/>
              <a:gd name="connsiteX2" fmla="*/ 1925045 w 1925045"/>
              <a:gd name="connsiteY2" fmla="*/ 814952 h 2185033"/>
              <a:gd name="connsiteX3" fmla="*/ 1647482 w 1925045"/>
              <a:gd name="connsiteY3" fmla="*/ 1092515 h 2185033"/>
              <a:gd name="connsiteX4" fmla="*/ 1915971 w 1925045"/>
              <a:gd name="connsiteY4" fmla="*/ 1361004 h 2185033"/>
              <a:gd name="connsiteX5" fmla="*/ 1091942 w 1925045"/>
              <a:gd name="connsiteY5" fmla="*/ 2185033 h 2185033"/>
              <a:gd name="connsiteX6" fmla="*/ 0 w 1925045"/>
              <a:gd name="connsiteY6" fmla="*/ 1093091 h 2185033"/>
              <a:gd name="connsiteX7" fmla="*/ 0 w 1925045"/>
              <a:gd name="connsiteY7" fmla="*/ 1073791 h 2185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25045" h="2185033">
                <a:moveTo>
                  <a:pt x="1073791" y="0"/>
                </a:moveTo>
                <a:lnTo>
                  <a:pt x="1110093" y="0"/>
                </a:lnTo>
                <a:lnTo>
                  <a:pt x="1925045" y="814952"/>
                </a:lnTo>
                <a:lnTo>
                  <a:pt x="1647482" y="1092515"/>
                </a:lnTo>
                <a:lnTo>
                  <a:pt x="1915971" y="1361004"/>
                </a:lnTo>
                <a:lnTo>
                  <a:pt x="1091942" y="2185033"/>
                </a:lnTo>
                <a:lnTo>
                  <a:pt x="0" y="1093091"/>
                </a:lnTo>
                <a:lnTo>
                  <a:pt x="0" y="1073791"/>
                </a:lnTo>
                <a:close/>
              </a:path>
            </a:pathLst>
          </a:custGeom>
          <a:ln>
            <a:noFill/>
          </a:ln>
        </p:spPr>
        <p:txBody>
          <a:bodyPr wrap="square" lIns="360000" tIns="900000" anchor="ctr">
            <a:noAutofit/>
          </a:bodyPr>
          <a:lstStyle>
            <a:lvl1pPr marL="0" indent="0" algn="ctr">
              <a:buNone/>
              <a:defRPr sz="1401" baseline="0">
                <a:latin typeface="Bliss Pro Light" panose="02000506050000020004" pitchFamily="50" charset="-52"/>
              </a:defRPr>
            </a:lvl1pPr>
          </a:lstStyle>
          <a:p>
            <a:r>
              <a:rPr lang="ru-RU" dirty="0"/>
              <a:t>Вставьте         изображение</a:t>
            </a:r>
          </a:p>
        </p:txBody>
      </p:sp>
      <p:sp>
        <p:nvSpPr>
          <p:cNvPr id="26" name="Прямоугольник 25"/>
          <p:cNvSpPr/>
          <p:nvPr/>
        </p:nvSpPr>
        <p:spPr>
          <a:xfrm rot="18900000">
            <a:off x="8360275" y="2715170"/>
            <a:ext cx="966407" cy="967900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 flipH="1">
            <a:off x="7450555" y="4565751"/>
            <a:ext cx="1838" cy="987920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flipH="1">
            <a:off x="11961266" y="4565750"/>
            <a:ext cx="1838" cy="987920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H="1">
            <a:off x="2929548" y="4565749"/>
            <a:ext cx="1838" cy="987920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19"/>
          <p:cNvSpPr>
            <a:spLocks noGrp="1"/>
          </p:cNvSpPr>
          <p:nvPr>
            <p:ph type="body" sz="quarter" idx="16" hasCustomPrompt="1"/>
          </p:nvPr>
        </p:nvSpPr>
        <p:spPr>
          <a:xfrm>
            <a:off x="1550176" y="5725190"/>
            <a:ext cx="2766655" cy="528240"/>
          </a:xfrm>
        </p:spPr>
        <p:txBody>
          <a:bodyPr>
            <a:normAutofit/>
          </a:bodyPr>
          <a:lstStyle>
            <a:lvl1pPr marL="0" indent="0" algn="ctr">
              <a:buNone/>
              <a:defRPr sz="1784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  <p:sp>
        <p:nvSpPr>
          <p:cNvPr id="33" name="Текст 19"/>
          <p:cNvSpPr>
            <a:spLocks noGrp="1"/>
          </p:cNvSpPr>
          <p:nvPr>
            <p:ph type="body" sz="quarter" idx="20" hasCustomPrompt="1"/>
          </p:nvPr>
        </p:nvSpPr>
        <p:spPr>
          <a:xfrm>
            <a:off x="1538041" y="6277736"/>
            <a:ext cx="2766655" cy="1511103"/>
          </a:xfrm>
        </p:spPr>
        <p:txBody>
          <a:bodyPr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СОСТАВЛЯЮЩЕЙ</a:t>
            </a:r>
          </a:p>
        </p:txBody>
      </p:sp>
      <p:sp>
        <p:nvSpPr>
          <p:cNvPr id="34" name="Текст 19"/>
          <p:cNvSpPr>
            <a:spLocks noGrp="1"/>
          </p:cNvSpPr>
          <p:nvPr>
            <p:ph type="body" sz="quarter" idx="21" hasCustomPrompt="1"/>
          </p:nvPr>
        </p:nvSpPr>
        <p:spPr>
          <a:xfrm>
            <a:off x="6070259" y="5723814"/>
            <a:ext cx="2766655" cy="528240"/>
          </a:xfrm>
        </p:spPr>
        <p:txBody>
          <a:bodyPr>
            <a:normAutofit/>
          </a:bodyPr>
          <a:lstStyle>
            <a:lvl1pPr marL="0" indent="0" algn="ctr">
              <a:buNone/>
              <a:defRPr sz="1784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2</a:t>
            </a:r>
          </a:p>
        </p:txBody>
      </p:sp>
      <p:sp>
        <p:nvSpPr>
          <p:cNvPr id="35" name="Текст 19"/>
          <p:cNvSpPr>
            <a:spLocks noGrp="1"/>
          </p:cNvSpPr>
          <p:nvPr>
            <p:ph type="body" sz="quarter" idx="22" hasCustomPrompt="1"/>
          </p:nvPr>
        </p:nvSpPr>
        <p:spPr>
          <a:xfrm>
            <a:off x="6058124" y="6276361"/>
            <a:ext cx="2766655" cy="1512479"/>
          </a:xfrm>
        </p:spPr>
        <p:txBody>
          <a:bodyPr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СОСТАВЛЯЮЩЕЙ</a:t>
            </a:r>
          </a:p>
        </p:txBody>
      </p:sp>
      <p:sp>
        <p:nvSpPr>
          <p:cNvPr id="36" name="Текст 19"/>
          <p:cNvSpPr>
            <a:spLocks noGrp="1"/>
          </p:cNvSpPr>
          <p:nvPr>
            <p:ph type="body" sz="quarter" idx="23" hasCustomPrompt="1"/>
          </p:nvPr>
        </p:nvSpPr>
        <p:spPr>
          <a:xfrm>
            <a:off x="10593376" y="5722207"/>
            <a:ext cx="2766655" cy="528240"/>
          </a:xfrm>
        </p:spPr>
        <p:txBody>
          <a:bodyPr>
            <a:normAutofit/>
          </a:bodyPr>
          <a:lstStyle>
            <a:lvl1pPr marL="0" indent="0" algn="ctr">
              <a:buNone/>
              <a:defRPr sz="1784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3</a:t>
            </a:r>
          </a:p>
        </p:txBody>
      </p:sp>
      <p:sp>
        <p:nvSpPr>
          <p:cNvPr id="37" name="Текст 19"/>
          <p:cNvSpPr>
            <a:spLocks noGrp="1"/>
          </p:cNvSpPr>
          <p:nvPr>
            <p:ph type="body" sz="quarter" idx="24" hasCustomPrompt="1"/>
          </p:nvPr>
        </p:nvSpPr>
        <p:spPr>
          <a:xfrm>
            <a:off x="10581242" y="6274753"/>
            <a:ext cx="2766655" cy="1514086"/>
          </a:xfrm>
        </p:spPr>
        <p:txBody>
          <a:bodyPr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СОСТАВЛЯЮЩЕЙ</a:t>
            </a:r>
          </a:p>
        </p:txBody>
      </p:sp>
      <p:sp>
        <p:nvSpPr>
          <p:cNvPr id="27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4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30914188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56">
          <p15:clr>
            <a:srgbClr val="547EBF"/>
          </p15:clr>
        </p15:guide>
        <p15:guide id="2" pos="6947">
          <p15:clr>
            <a:srgbClr val="547EBF"/>
          </p15:clr>
        </p15:guide>
        <p15:guide id="4" orient="horz" pos="3952">
          <p15:clr>
            <a:srgbClr val="547EBF"/>
          </p15:clr>
        </p15:guide>
        <p15:guide id="5" orient="horz" pos="867">
          <p15:clr>
            <a:srgbClr val="547EB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следовательность из четыре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2" name="Овал 11"/>
          <p:cNvSpPr/>
          <p:nvPr/>
        </p:nvSpPr>
        <p:spPr>
          <a:xfrm>
            <a:off x="2147799" y="3745187"/>
            <a:ext cx="1880840" cy="1883745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3" name="Овал 12"/>
          <p:cNvSpPr/>
          <p:nvPr/>
        </p:nvSpPr>
        <p:spPr>
          <a:xfrm>
            <a:off x="5269927" y="3745187"/>
            <a:ext cx="1880840" cy="1883745"/>
          </a:xfrm>
          <a:prstGeom prst="ellips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4" name="Овал 13"/>
          <p:cNvSpPr/>
          <p:nvPr/>
        </p:nvSpPr>
        <p:spPr>
          <a:xfrm>
            <a:off x="8388481" y="3743177"/>
            <a:ext cx="1880840" cy="1883745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5" name="Овал 14"/>
          <p:cNvSpPr/>
          <p:nvPr/>
        </p:nvSpPr>
        <p:spPr>
          <a:xfrm>
            <a:off x="11503983" y="3742794"/>
            <a:ext cx="1880840" cy="1883745"/>
          </a:xfrm>
          <a:prstGeom prst="ellips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 flipV="1">
            <a:off x="3088219" y="2373325"/>
            <a:ext cx="0" cy="1433762"/>
          </a:xfrm>
          <a:prstGeom prst="line">
            <a:avLst/>
          </a:prstGeom>
          <a:ln w="38100">
            <a:solidFill>
              <a:srgbClr val="006AB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6206773" y="5618838"/>
            <a:ext cx="0" cy="1378366"/>
          </a:xfrm>
          <a:prstGeom prst="line">
            <a:avLst/>
          </a:prstGeom>
          <a:ln w="38100">
            <a:solidFill>
              <a:srgbClr val="3BA9D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V="1">
            <a:off x="9328900" y="2373324"/>
            <a:ext cx="0" cy="1433762"/>
          </a:xfrm>
          <a:prstGeom prst="line">
            <a:avLst/>
          </a:prstGeom>
          <a:ln w="38100">
            <a:solidFill>
              <a:srgbClr val="006AB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Овал 26"/>
          <p:cNvSpPr/>
          <p:nvPr/>
        </p:nvSpPr>
        <p:spPr>
          <a:xfrm>
            <a:off x="2326146" y="3920010"/>
            <a:ext cx="1527718" cy="15300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8" name="Овал 27"/>
          <p:cNvSpPr/>
          <p:nvPr/>
        </p:nvSpPr>
        <p:spPr>
          <a:xfrm>
            <a:off x="5447739" y="3920010"/>
            <a:ext cx="1527718" cy="15300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29" name="Овал 28"/>
          <p:cNvSpPr/>
          <p:nvPr/>
        </p:nvSpPr>
        <p:spPr>
          <a:xfrm>
            <a:off x="8564816" y="3919626"/>
            <a:ext cx="1527718" cy="15300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0" name="Овал 29"/>
          <p:cNvSpPr/>
          <p:nvPr/>
        </p:nvSpPr>
        <p:spPr>
          <a:xfrm>
            <a:off x="11680023" y="3919626"/>
            <a:ext cx="1527718" cy="15300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12443882" y="5621230"/>
            <a:ext cx="0" cy="1378366"/>
          </a:xfrm>
          <a:prstGeom prst="line">
            <a:avLst/>
          </a:prstGeom>
          <a:ln w="38100">
            <a:solidFill>
              <a:srgbClr val="3BA9D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Овал 35"/>
          <p:cNvSpPr/>
          <p:nvPr/>
        </p:nvSpPr>
        <p:spPr>
          <a:xfrm>
            <a:off x="2368018" y="3961932"/>
            <a:ext cx="1440610" cy="1442835"/>
          </a:xfrm>
          <a:prstGeom prst="ellipse">
            <a:avLst/>
          </a:prstGeom>
          <a:noFill/>
          <a:ln w="19050"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7" name="Овал 36"/>
          <p:cNvSpPr/>
          <p:nvPr/>
        </p:nvSpPr>
        <p:spPr>
          <a:xfrm>
            <a:off x="5487854" y="3964022"/>
            <a:ext cx="1440610" cy="1442835"/>
          </a:xfrm>
          <a:prstGeom prst="ellipse">
            <a:avLst/>
          </a:prstGeom>
          <a:noFill/>
          <a:ln w="19050">
            <a:solidFill>
              <a:srgbClr val="3BA9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8" name="Овал 37"/>
          <p:cNvSpPr/>
          <p:nvPr/>
        </p:nvSpPr>
        <p:spPr>
          <a:xfrm>
            <a:off x="8607069" y="3961932"/>
            <a:ext cx="1440610" cy="1442835"/>
          </a:xfrm>
          <a:prstGeom prst="ellipse">
            <a:avLst/>
          </a:prstGeom>
          <a:noFill/>
          <a:ln w="19050"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9" name="Овал 38"/>
          <p:cNvSpPr/>
          <p:nvPr/>
        </p:nvSpPr>
        <p:spPr>
          <a:xfrm>
            <a:off x="11723577" y="3964406"/>
            <a:ext cx="1440610" cy="1442835"/>
          </a:xfrm>
          <a:prstGeom prst="ellipse">
            <a:avLst/>
          </a:prstGeom>
          <a:noFill/>
          <a:ln w="19050">
            <a:solidFill>
              <a:srgbClr val="3BA9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0" name="Овал 39"/>
          <p:cNvSpPr/>
          <p:nvPr/>
        </p:nvSpPr>
        <p:spPr>
          <a:xfrm>
            <a:off x="4391840" y="4429342"/>
            <a:ext cx="516693" cy="517491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1" name="Овал 40"/>
          <p:cNvSpPr/>
          <p:nvPr/>
        </p:nvSpPr>
        <p:spPr>
          <a:xfrm>
            <a:off x="4950777" y="4318427"/>
            <a:ext cx="162804" cy="163056"/>
          </a:xfrm>
          <a:prstGeom prst="ellips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2" name="Овал 41"/>
          <p:cNvSpPr/>
          <p:nvPr/>
        </p:nvSpPr>
        <p:spPr>
          <a:xfrm>
            <a:off x="4188599" y="4890641"/>
            <a:ext cx="162804" cy="163056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3" name="Овал 42"/>
          <p:cNvSpPr/>
          <p:nvPr/>
        </p:nvSpPr>
        <p:spPr>
          <a:xfrm>
            <a:off x="7508110" y="4429342"/>
            <a:ext cx="516693" cy="517491"/>
          </a:xfrm>
          <a:prstGeom prst="ellips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4" name="Овал 43"/>
          <p:cNvSpPr/>
          <p:nvPr/>
        </p:nvSpPr>
        <p:spPr>
          <a:xfrm>
            <a:off x="8067047" y="4318427"/>
            <a:ext cx="162804" cy="163056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5" name="Овал 44"/>
          <p:cNvSpPr/>
          <p:nvPr/>
        </p:nvSpPr>
        <p:spPr>
          <a:xfrm>
            <a:off x="7304870" y="4890641"/>
            <a:ext cx="162804" cy="163056"/>
          </a:xfrm>
          <a:prstGeom prst="ellips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6" name="Овал 45"/>
          <p:cNvSpPr/>
          <p:nvPr/>
        </p:nvSpPr>
        <p:spPr>
          <a:xfrm>
            <a:off x="10627366" y="4428983"/>
            <a:ext cx="516693" cy="517491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7" name="Овал 46"/>
          <p:cNvSpPr/>
          <p:nvPr/>
        </p:nvSpPr>
        <p:spPr>
          <a:xfrm>
            <a:off x="11186303" y="4318069"/>
            <a:ext cx="162804" cy="163056"/>
          </a:xfrm>
          <a:prstGeom prst="ellips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8" name="Овал 47"/>
          <p:cNvSpPr/>
          <p:nvPr/>
        </p:nvSpPr>
        <p:spPr>
          <a:xfrm>
            <a:off x="10424126" y="4890282"/>
            <a:ext cx="162804" cy="163056"/>
          </a:xfrm>
          <a:prstGeom prst="ellips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77957">
            <a:off x="7638759" y="4502940"/>
            <a:ext cx="274213" cy="373270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77957">
            <a:off x="10748508" y="4498413"/>
            <a:ext cx="274213" cy="373270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77957">
            <a:off x="4520085" y="4501968"/>
            <a:ext cx="274213" cy="373270"/>
          </a:xfrm>
          <a:prstGeom prst="rect">
            <a:avLst/>
          </a:prstGeom>
        </p:spPr>
      </p:pic>
      <p:sp>
        <p:nvSpPr>
          <p:cNvPr id="55" name="Текст 19"/>
          <p:cNvSpPr>
            <a:spLocks noGrp="1"/>
          </p:cNvSpPr>
          <p:nvPr>
            <p:ph type="body" sz="quarter" idx="21" hasCustomPrompt="1"/>
          </p:nvPr>
        </p:nvSpPr>
        <p:spPr>
          <a:xfrm>
            <a:off x="3132615" y="1947702"/>
            <a:ext cx="2766655" cy="349245"/>
          </a:xfrm>
        </p:spPr>
        <p:txBody>
          <a:bodyPr>
            <a:normAutofit/>
          </a:bodyPr>
          <a:lstStyle>
            <a:lvl1pPr marL="0" indent="0" algn="l">
              <a:buNone/>
              <a:defRPr sz="1784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en-US" dirty="0"/>
              <a:t>1</a:t>
            </a:r>
            <a:endParaRPr lang="ru-RU" dirty="0"/>
          </a:p>
        </p:txBody>
      </p:sp>
      <p:sp>
        <p:nvSpPr>
          <p:cNvPr id="56" name="Текст 19"/>
          <p:cNvSpPr>
            <a:spLocks noGrp="1"/>
          </p:cNvSpPr>
          <p:nvPr>
            <p:ph type="body" sz="quarter" idx="22" hasCustomPrompt="1"/>
          </p:nvPr>
        </p:nvSpPr>
        <p:spPr>
          <a:xfrm>
            <a:off x="9363166" y="1949559"/>
            <a:ext cx="2766655" cy="347389"/>
          </a:xfrm>
        </p:spPr>
        <p:txBody>
          <a:bodyPr>
            <a:normAutofit/>
          </a:bodyPr>
          <a:lstStyle>
            <a:lvl1pPr marL="0" indent="0" algn="l">
              <a:buNone/>
              <a:defRPr sz="1784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en-US" dirty="0"/>
              <a:t>3</a:t>
            </a:r>
            <a:endParaRPr lang="ru-RU" dirty="0"/>
          </a:p>
        </p:txBody>
      </p:sp>
      <p:sp>
        <p:nvSpPr>
          <p:cNvPr id="57" name="Текст 19"/>
          <p:cNvSpPr>
            <a:spLocks noGrp="1"/>
          </p:cNvSpPr>
          <p:nvPr>
            <p:ph type="body" sz="quarter" idx="23" hasCustomPrompt="1"/>
          </p:nvPr>
        </p:nvSpPr>
        <p:spPr>
          <a:xfrm>
            <a:off x="3413052" y="6723379"/>
            <a:ext cx="2766655" cy="351800"/>
          </a:xfrm>
        </p:spPr>
        <p:txBody>
          <a:bodyPr>
            <a:normAutofit/>
          </a:bodyPr>
          <a:lstStyle>
            <a:lvl1pPr marL="0" indent="0" algn="r">
              <a:buNone/>
              <a:defRPr sz="1784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2</a:t>
            </a:r>
          </a:p>
        </p:txBody>
      </p:sp>
      <p:sp>
        <p:nvSpPr>
          <p:cNvPr id="58" name="Текст 19"/>
          <p:cNvSpPr>
            <a:spLocks noGrp="1"/>
          </p:cNvSpPr>
          <p:nvPr>
            <p:ph type="body" sz="quarter" idx="24" hasCustomPrompt="1"/>
          </p:nvPr>
        </p:nvSpPr>
        <p:spPr>
          <a:xfrm>
            <a:off x="9640030" y="6722970"/>
            <a:ext cx="2766655" cy="352208"/>
          </a:xfrm>
        </p:spPr>
        <p:txBody>
          <a:bodyPr>
            <a:normAutofit/>
          </a:bodyPr>
          <a:lstStyle>
            <a:lvl1pPr marL="0" indent="0" algn="r">
              <a:buNone/>
              <a:defRPr sz="1784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en-US" dirty="0"/>
              <a:t>4</a:t>
            </a:r>
            <a:endParaRPr lang="ru-RU" dirty="0"/>
          </a:p>
        </p:txBody>
      </p:sp>
      <p:sp>
        <p:nvSpPr>
          <p:cNvPr id="59" name="Текст 19"/>
          <p:cNvSpPr>
            <a:spLocks noGrp="1"/>
          </p:cNvSpPr>
          <p:nvPr>
            <p:ph type="body" sz="quarter" idx="25" hasCustomPrompt="1"/>
          </p:nvPr>
        </p:nvSpPr>
        <p:spPr>
          <a:xfrm>
            <a:off x="3122486" y="2303652"/>
            <a:ext cx="2766655" cy="556740"/>
          </a:xfrm>
        </p:spPr>
        <p:txBody>
          <a:bodyPr>
            <a:normAutofit/>
          </a:bodyPr>
          <a:lstStyle>
            <a:lvl1pPr marL="0" indent="0" algn="l">
              <a:buNone/>
              <a:defRPr sz="1019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 ОПИСАНИЕ СОСТАВЛЯЮЩЕЙ </a:t>
            </a:r>
            <a:r>
              <a:rPr lang="en-US" dirty="0"/>
              <a:t>1</a:t>
            </a:r>
            <a:endParaRPr lang="ru-RU" dirty="0"/>
          </a:p>
        </p:txBody>
      </p:sp>
      <p:sp>
        <p:nvSpPr>
          <p:cNvPr id="60" name="Текст 19"/>
          <p:cNvSpPr>
            <a:spLocks noGrp="1"/>
          </p:cNvSpPr>
          <p:nvPr>
            <p:ph type="body" sz="quarter" idx="26" hasCustomPrompt="1"/>
          </p:nvPr>
        </p:nvSpPr>
        <p:spPr>
          <a:xfrm>
            <a:off x="9361283" y="2306602"/>
            <a:ext cx="2766655" cy="556740"/>
          </a:xfrm>
        </p:spPr>
        <p:txBody>
          <a:bodyPr>
            <a:normAutofit/>
          </a:bodyPr>
          <a:lstStyle>
            <a:lvl1pPr marL="0" indent="0" algn="l">
              <a:buNone/>
              <a:defRPr sz="1019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 ОПИСАНИЕ СОСТАВЛЯЮЩЕЙ </a:t>
            </a:r>
            <a:r>
              <a:rPr lang="en-US" dirty="0"/>
              <a:t>3</a:t>
            </a:r>
            <a:endParaRPr lang="ru-RU" dirty="0"/>
          </a:p>
        </p:txBody>
      </p:sp>
      <p:sp>
        <p:nvSpPr>
          <p:cNvPr id="61" name="Текст 19"/>
          <p:cNvSpPr>
            <a:spLocks noGrp="1"/>
          </p:cNvSpPr>
          <p:nvPr>
            <p:ph type="body" sz="quarter" idx="27" hasCustomPrompt="1"/>
          </p:nvPr>
        </p:nvSpPr>
        <p:spPr>
          <a:xfrm>
            <a:off x="9640030" y="7086648"/>
            <a:ext cx="2766655" cy="556740"/>
          </a:xfrm>
        </p:spPr>
        <p:txBody>
          <a:bodyPr>
            <a:normAutofit/>
          </a:bodyPr>
          <a:lstStyle>
            <a:lvl1pPr marL="0" indent="0" algn="r">
              <a:buNone/>
              <a:defRPr sz="1019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 ОПИСАНИЕ СОСТАВЛЯЮЩЕЙ </a:t>
            </a:r>
            <a:r>
              <a:rPr lang="en-US" dirty="0"/>
              <a:t>4</a:t>
            </a:r>
            <a:endParaRPr lang="ru-RU" dirty="0"/>
          </a:p>
        </p:txBody>
      </p:sp>
      <p:sp>
        <p:nvSpPr>
          <p:cNvPr id="62" name="Текст 19"/>
          <p:cNvSpPr>
            <a:spLocks noGrp="1"/>
          </p:cNvSpPr>
          <p:nvPr>
            <p:ph type="body" sz="quarter" idx="28" hasCustomPrompt="1"/>
          </p:nvPr>
        </p:nvSpPr>
        <p:spPr>
          <a:xfrm>
            <a:off x="3423887" y="7087400"/>
            <a:ext cx="2766655" cy="556740"/>
          </a:xfrm>
        </p:spPr>
        <p:txBody>
          <a:bodyPr>
            <a:normAutofit/>
          </a:bodyPr>
          <a:lstStyle>
            <a:lvl1pPr marL="0" indent="0" algn="r">
              <a:buNone/>
              <a:defRPr sz="1019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 ОПИСАНИЕ СОСТАВЛЯЮЩЕЙ </a:t>
            </a:r>
            <a:r>
              <a:rPr lang="en-US" dirty="0"/>
              <a:t>2</a:t>
            </a:r>
            <a:endParaRPr lang="ru-RU" dirty="0"/>
          </a:p>
        </p:txBody>
      </p:sp>
      <p:sp>
        <p:nvSpPr>
          <p:cNvPr id="49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Рисунок 5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64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14090238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56">
          <p15:clr>
            <a:srgbClr val="547EBF"/>
          </p15:clr>
        </p15:guide>
        <p15:guide id="2" pos="6924">
          <p15:clr>
            <a:srgbClr val="547EBF"/>
          </p15:clr>
        </p15:guide>
        <p15:guide id="3" orient="horz" pos="867">
          <p15:clr>
            <a:srgbClr val="547EBF"/>
          </p15:clr>
        </p15:guide>
        <p15:guide id="4" orient="horz" pos="3952">
          <p15:clr>
            <a:srgbClr val="547EBF"/>
          </p15:clr>
        </p15:guide>
        <p15:guide id="5" pos="2298">
          <p15:clr>
            <a:srgbClr val="547EBF"/>
          </p15:clr>
        </p15:guide>
        <p15:guide id="6" pos="3840">
          <p15:clr>
            <a:srgbClr val="547EBF"/>
          </p15:clr>
        </p15:guide>
        <p15:guide id="7" pos="5382">
          <p15:clr>
            <a:srgbClr val="547EBF"/>
          </p15:clr>
        </p15:guide>
        <p15:guide id="15" pos="1345">
          <p15:clr>
            <a:srgbClr val="FBAE40"/>
          </p15:clr>
        </p15:guide>
        <p15:guide id="16" pos="1708">
          <p15:clr>
            <a:srgbClr val="FBAE40"/>
          </p15:clr>
        </p15:guide>
        <p15:guide id="17" orient="horz" pos="2115">
          <p15:clr>
            <a:srgbClr val="FBAE40"/>
          </p15:clr>
        </p15:guide>
        <p15:guide id="18" orient="horz" pos="2500">
          <p15:clr>
            <a:srgbClr val="FBAE40"/>
          </p15:clr>
        </p15:guide>
        <p15:guide id="19" pos="2887">
          <p15:clr>
            <a:srgbClr val="FBAE40"/>
          </p15:clr>
        </p15:guide>
        <p15:guide id="20" pos="3250">
          <p15:clr>
            <a:srgbClr val="FBAE40"/>
          </p15:clr>
        </p15:guide>
        <p15:guide id="21" pos="4793">
          <p15:clr>
            <a:srgbClr val="FBAE40"/>
          </p15:clr>
        </p15:guide>
        <p15:guide id="22" pos="4430">
          <p15:clr>
            <a:srgbClr val="FBAE40"/>
          </p15:clr>
        </p15:guide>
        <p15:guide id="23" pos="6335">
          <p15:clr>
            <a:srgbClr val="FBAE40"/>
          </p15:clr>
        </p15:guide>
        <p15:guide id="24" pos="597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следовательность из пя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133202" y="2993448"/>
            <a:ext cx="14732019" cy="1"/>
          </a:xfrm>
          <a:prstGeom prst="line">
            <a:avLst/>
          </a:prstGeom>
          <a:ln w="31750" cap="rnd">
            <a:solidFill>
              <a:srgbClr val="006AB4"/>
            </a:solidFill>
            <a:prstDash val="dashDot"/>
            <a:miter lim="800000"/>
            <a:headEnd type="diamond" w="lg" len="lg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 flipH="1">
            <a:off x="3497759" y="3850044"/>
            <a:ext cx="1" cy="2068742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Текст 19"/>
          <p:cNvSpPr>
            <a:spLocks noGrp="1"/>
          </p:cNvSpPr>
          <p:nvPr>
            <p:ph type="body" sz="quarter" idx="16" hasCustomPrompt="1"/>
          </p:nvPr>
        </p:nvSpPr>
        <p:spPr>
          <a:xfrm>
            <a:off x="253821" y="6021803"/>
            <a:ext cx="1778719" cy="460515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  <p:sp>
        <p:nvSpPr>
          <p:cNvPr id="33" name="Рисунок 32"/>
          <p:cNvSpPr>
            <a:spLocks noGrp="1"/>
          </p:cNvSpPr>
          <p:nvPr>
            <p:ph type="pic" sz="quarter" idx="25" hasCustomPrompt="1"/>
          </p:nvPr>
        </p:nvSpPr>
        <p:spPr>
          <a:xfrm>
            <a:off x="267971" y="2136621"/>
            <a:ext cx="1524612" cy="173581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019"/>
            </a:lvl1pPr>
          </a:lstStyle>
          <a:p>
            <a:r>
              <a:rPr lang="ru-RU" dirty="0"/>
              <a:t>Изображение 1</a:t>
            </a:r>
          </a:p>
        </p:txBody>
      </p:sp>
      <p:sp>
        <p:nvSpPr>
          <p:cNvPr id="35" name="Рисунок 34"/>
          <p:cNvSpPr>
            <a:spLocks noGrp="1"/>
          </p:cNvSpPr>
          <p:nvPr>
            <p:ph type="pic" sz="quarter" idx="26" hasCustomPrompt="1"/>
          </p:nvPr>
        </p:nvSpPr>
        <p:spPr>
          <a:xfrm>
            <a:off x="5344559" y="2122305"/>
            <a:ext cx="1524612" cy="173581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01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5</a:t>
            </a:r>
            <a:endParaRPr lang="ru-RU" dirty="0"/>
          </a:p>
        </p:txBody>
      </p:sp>
      <p:sp>
        <p:nvSpPr>
          <p:cNvPr id="37" name="Рисунок 36"/>
          <p:cNvSpPr>
            <a:spLocks noGrp="1"/>
          </p:cNvSpPr>
          <p:nvPr>
            <p:ph type="pic" sz="quarter" idx="27" hasCustomPrompt="1"/>
          </p:nvPr>
        </p:nvSpPr>
        <p:spPr>
          <a:xfrm>
            <a:off x="2629321" y="2136763"/>
            <a:ext cx="1524612" cy="173581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01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3</a:t>
            </a:r>
            <a:endParaRPr lang="ru-RU" dirty="0"/>
          </a:p>
        </p:txBody>
      </p:sp>
      <p:sp>
        <p:nvSpPr>
          <p:cNvPr id="39" name="Рисунок 38"/>
          <p:cNvSpPr>
            <a:spLocks noGrp="1"/>
          </p:cNvSpPr>
          <p:nvPr>
            <p:ph type="pic" sz="quarter" idx="28" hasCustomPrompt="1"/>
          </p:nvPr>
        </p:nvSpPr>
        <p:spPr>
          <a:xfrm>
            <a:off x="1405942" y="3117107"/>
            <a:ext cx="1524612" cy="173581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01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2</a:t>
            </a:r>
            <a:endParaRPr lang="ru-RU" dirty="0"/>
          </a:p>
        </p:txBody>
      </p:sp>
      <p:sp>
        <p:nvSpPr>
          <p:cNvPr id="41" name="Рисунок 40"/>
          <p:cNvSpPr>
            <a:spLocks noGrp="1"/>
          </p:cNvSpPr>
          <p:nvPr>
            <p:ph type="pic" sz="quarter" idx="29" hasCustomPrompt="1"/>
          </p:nvPr>
        </p:nvSpPr>
        <p:spPr>
          <a:xfrm>
            <a:off x="3986665" y="3114969"/>
            <a:ext cx="1524612" cy="173581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01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4</a:t>
            </a:r>
            <a:endParaRPr lang="ru-RU" dirty="0"/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H="1">
            <a:off x="1143180" y="3871004"/>
            <a:ext cx="1" cy="2068742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Текст 19"/>
          <p:cNvSpPr>
            <a:spLocks noGrp="1"/>
          </p:cNvSpPr>
          <p:nvPr>
            <p:ph type="body" sz="quarter" idx="30" hasCustomPrompt="1"/>
          </p:nvPr>
        </p:nvSpPr>
        <p:spPr>
          <a:xfrm>
            <a:off x="1393141" y="7027852"/>
            <a:ext cx="1778719" cy="460516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2</a:t>
            </a:r>
          </a:p>
        </p:txBody>
      </p:sp>
      <p:sp>
        <p:nvSpPr>
          <p:cNvPr id="53" name="Текст 19"/>
          <p:cNvSpPr>
            <a:spLocks noGrp="1"/>
          </p:cNvSpPr>
          <p:nvPr>
            <p:ph type="body" sz="quarter" idx="31" hasCustomPrompt="1"/>
          </p:nvPr>
        </p:nvSpPr>
        <p:spPr>
          <a:xfrm>
            <a:off x="2491187" y="6021803"/>
            <a:ext cx="1778719" cy="464204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3</a:t>
            </a:r>
          </a:p>
        </p:txBody>
      </p:sp>
      <p:sp>
        <p:nvSpPr>
          <p:cNvPr id="54" name="Текст 19"/>
          <p:cNvSpPr>
            <a:spLocks noGrp="1"/>
          </p:cNvSpPr>
          <p:nvPr>
            <p:ph type="body" sz="quarter" idx="32" hasCustomPrompt="1"/>
          </p:nvPr>
        </p:nvSpPr>
        <p:spPr>
          <a:xfrm>
            <a:off x="3981318" y="7029185"/>
            <a:ext cx="1778719" cy="464204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4</a:t>
            </a:r>
          </a:p>
        </p:txBody>
      </p:sp>
      <p:sp>
        <p:nvSpPr>
          <p:cNvPr id="55" name="Текст 19"/>
          <p:cNvSpPr>
            <a:spLocks noGrp="1"/>
          </p:cNvSpPr>
          <p:nvPr>
            <p:ph type="body" sz="quarter" idx="33" hasCustomPrompt="1"/>
          </p:nvPr>
        </p:nvSpPr>
        <p:spPr>
          <a:xfrm>
            <a:off x="5335944" y="6021803"/>
            <a:ext cx="1778719" cy="464204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5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Рисунок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5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  <p:sp>
        <p:nvSpPr>
          <p:cNvPr id="51" name="Рисунок 40"/>
          <p:cNvSpPr>
            <a:spLocks noGrp="1"/>
          </p:cNvSpPr>
          <p:nvPr>
            <p:ph type="pic" sz="quarter" idx="38" hasCustomPrompt="1"/>
          </p:nvPr>
        </p:nvSpPr>
        <p:spPr>
          <a:xfrm>
            <a:off x="6720077" y="3114972"/>
            <a:ext cx="1524612" cy="173581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01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4</a:t>
            </a:r>
            <a:endParaRPr lang="ru-RU" dirty="0"/>
          </a:p>
        </p:txBody>
      </p:sp>
      <p:sp>
        <p:nvSpPr>
          <p:cNvPr id="61" name="Текст 19"/>
          <p:cNvSpPr>
            <a:spLocks noGrp="1"/>
          </p:cNvSpPr>
          <p:nvPr>
            <p:ph type="body" sz="quarter" idx="39" hasCustomPrompt="1"/>
          </p:nvPr>
        </p:nvSpPr>
        <p:spPr>
          <a:xfrm>
            <a:off x="6714730" y="7029188"/>
            <a:ext cx="1778719" cy="464204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63" name="Рисунок 34"/>
          <p:cNvSpPr>
            <a:spLocks noGrp="1"/>
          </p:cNvSpPr>
          <p:nvPr>
            <p:ph type="pic" sz="quarter" idx="41" hasCustomPrompt="1"/>
          </p:nvPr>
        </p:nvSpPr>
        <p:spPr>
          <a:xfrm>
            <a:off x="8040391" y="2122304"/>
            <a:ext cx="1524612" cy="173581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01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5</a:t>
            </a:r>
            <a:endParaRPr lang="ru-RU" dirty="0"/>
          </a:p>
        </p:txBody>
      </p:sp>
      <p:sp>
        <p:nvSpPr>
          <p:cNvPr id="66" name="Текст 19"/>
          <p:cNvSpPr>
            <a:spLocks noGrp="1"/>
          </p:cNvSpPr>
          <p:nvPr>
            <p:ph type="body" sz="quarter" idx="42" hasCustomPrompt="1"/>
          </p:nvPr>
        </p:nvSpPr>
        <p:spPr>
          <a:xfrm>
            <a:off x="8031776" y="6021803"/>
            <a:ext cx="1778719" cy="464204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7</a:t>
            </a:r>
            <a:endParaRPr lang="ru-RU" dirty="0"/>
          </a:p>
        </p:txBody>
      </p:sp>
      <p:cxnSp>
        <p:nvCxnSpPr>
          <p:cNvPr id="68" name="Прямая соединительная линия 67"/>
          <p:cNvCxnSpPr/>
          <p:nvPr userDrawn="1"/>
        </p:nvCxnSpPr>
        <p:spPr>
          <a:xfrm flipH="1">
            <a:off x="2282500" y="4812737"/>
            <a:ext cx="1" cy="2068742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 userDrawn="1"/>
        </p:nvCxnSpPr>
        <p:spPr>
          <a:xfrm flipH="1">
            <a:off x="4872299" y="4850785"/>
            <a:ext cx="1" cy="2068742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 userDrawn="1"/>
        </p:nvCxnSpPr>
        <p:spPr>
          <a:xfrm flipH="1">
            <a:off x="7595642" y="4850785"/>
            <a:ext cx="1" cy="2068742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Рисунок 40"/>
          <p:cNvSpPr>
            <a:spLocks noGrp="1"/>
          </p:cNvSpPr>
          <p:nvPr>
            <p:ph type="pic" sz="quarter" idx="43" hasCustomPrompt="1"/>
          </p:nvPr>
        </p:nvSpPr>
        <p:spPr>
          <a:xfrm>
            <a:off x="9406239" y="3114972"/>
            <a:ext cx="1524612" cy="173581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01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4</a:t>
            </a:r>
            <a:endParaRPr lang="ru-RU" dirty="0"/>
          </a:p>
        </p:txBody>
      </p:sp>
      <p:sp>
        <p:nvSpPr>
          <p:cNvPr id="73" name="Текст 19"/>
          <p:cNvSpPr>
            <a:spLocks noGrp="1"/>
          </p:cNvSpPr>
          <p:nvPr>
            <p:ph type="body" sz="quarter" idx="44" hasCustomPrompt="1"/>
          </p:nvPr>
        </p:nvSpPr>
        <p:spPr>
          <a:xfrm>
            <a:off x="9400892" y="7029188"/>
            <a:ext cx="1778719" cy="464204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8</a:t>
            </a:r>
            <a:endParaRPr lang="ru-RU" dirty="0"/>
          </a:p>
        </p:txBody>
      </p:sp>
      <p:cxnSp>
        <p:nvCxnSpPr>
          <p:cNvPr id="74" name="Прямая соединительная линия 73"/>
          <p:cNvCxnSpPr/>
          <p:nvPr userDrawn="1"/>
        </p:nvCxnSpPr>
        <p:spPr>
          <a:xfrm flipH="1">
            <a:off x="10281804" y="4850785"/>
            <a:ext cx="1" cy="2068742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Прямоугольник 78"/>
          <p:cNvSpPr/>
          <p:nvPr userDrawn="1"/>
        </p:nvSpPr>
        <p:spPr>
          <a:xfrm rot="18900000">
            <a:off x="5385136" y="3745884"/>
            <a:ext cx="467943" cy="46866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82" name="Рисунок 34"/>
          <p:cNvSpPr>
            <a:spLocks noGrp="1"/>
          </p:cNvSpPr>
          <p:nvPr>
            <p:ph type="pic" sz="quarter" idx="45" hasCustomPrompt="1"/>
          </p:nvPr>
        </p:nvSpPr>
        <p:spPr>
          <a:xfrm>
            <a:off x="10786585" y="2122304"/>
            <a:ext cx="1524612" cy="173581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01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5</a:t>
            </a:r>
            <a:endParaRPr lang="ru-RU" dirty="0"/>
          </a:p>
        </p:txBody>
      </p:sp>
      <p:sp>
        <p:nvSpPr>
          <p:cNvPr id="84" name="Текст 19"/>
          <p:cNvSpPr>
            <a:spLocks noGrp="1"/>
          </p:cNvSpPr>
          <p:nvPr>
            <p:ph type="body" sz="quarter" idx="46" hasCustomPrompt="1"/>
          </p:nvPr>
        </p:nvSpPr>
        <p:spPr>
          <a:xfrm>
            <a:off x="10777970" y="6021803"/>
            <a:ext cx="1778719" cy="464204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9</a:t>
            </a:r>
            <a:endParaRPr lang="ru-RU" dirty="0"/>
          </a:p>
        </p:txBody>
      </p:sp>
      <p:sp>
        <p:nvSpPr>
          <p:cNvPr id="85" name="Рисунок 40"/>
          <p:cNvSpPr>
            <a:spLocks noGrp="1"/>
          </p:cNvSpPr>
          <p:nvPr>
            <p:ph type="pic" sz="quarter" idx="47" hasCustomPrompt="1"/>
          </p:nvPr>
        </p:nvSpPr>
        <p:spPr>
          <a:xfrm>
            <a:off x="12129115" y="3114972"/>
            <a:ext cx="1524612" cy="173581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01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4</a:t>
            </a:r>
            <a:endParaRPr lang="ru-RU" dirty="0"/>
          </a:p>
        </p:txBody>
      </p:sp>
      <p:sp>
        <p:nvSpPr>
          <p:cNvPr id="86" name="Текст 19"/>
          <p:cNvSpPr>
            <a:spLocks noGrp="1"/>
          </p:cNvSpPr>
          <p:nvPr>
            <p:ph type="body" sz="quarter" idx="48" hasCustomPrompt="1"/>
          </p:nvPr>
        </p:nvSpPr>
        <p:spPr>
          <a:xfrm>
            <a:off x="12123768" y="7029188"/>
            <a:ext cx="1778719" cy="464204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10</a:t>
            </a:r>
            <a:endParaRPr lang="ru-RU" dirty="0"/>
          </a:p>
        </p:txBody>
      </p:sp>
      <p:cxnSp>
        <p:nvCxnSpPr>
          <p:cNvPr id="87" name="Прямая соединительная линия 86"/>
          <p:cNvCxnSpPr/>
          <p:nvPr userDrawn="1"/>
        </p:nvCxnSpPr>
        <p:spPr>
          <a:xfrm flipH="1">
            <a:off x="13004680" y="4850785"/>
            <a:ext cx="1" cy="2068742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 userDrawn="1"/>
        </p:nvCxnSpPr>
        <p:spPr>
          <a:xfrm flipH="1">
            <a:off x="6214421" y="3850044"/>
            <a:ext cx="1" cy="2068742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 userDrawn="1"/>
        </p:nvCxnSpPr>
        <p:spPr>
          <a:xfrm flipH="1">
            <a:off x="8933940" y="3850044"/>
            <a:ext cx="1" cy="2068742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 userDrawn="1"/>
        </p:nvCxnSpPr>
        <p:spPr>
          <a:xfrm flipH="1">
            <a:off x="11665550" y="3850044"/>
            <a:ext cx="1" cy="2068742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Рисунок 34"/>
          <p:cNvSpPr>
            <a:spLocks noGrp="1"/>
          </p:cNvSpPr>
          <p:nvPr>
            <p:ph type="pic" sz="quarter" idx="49" hasCustomPrompt="1"/>
          </p:nvPr>
        </p:nvSpPr>
        <p:spPr>
          <a:xfrm>
            <a:off x="13509462" y="2122304"/>
            <a:ext cx="1524612" cy="1735816"/>
          </a:xfrm>
          <a:custGeom>
            <a:avLst/>
            <a:gdLst>
              <a:gd name="connsiteX0" fmla="*/ 870878 w 1528839"/>
              <a:gd name="connsiteY0" fmla="*/ 0 h 1737944"/>
              <a:gd name="connsiteX1" fmla="*/ 1526933 w 1528839"/>
              <a:gd name="connsiteY1" fmla="*/ 656056 h 1737944"/>
              <a:gd name="connsiteX2" fmla="*/ 1314018 w 1528839"/>
              <a:gd name="connsiteY2" fmla="*/ 868972 h 1737944"/>
              <a:gd name="connsiteX3" fmla="*/ 1528839 w 1528839"/>
              <a:gd name="connsiteY3" fmla="*/ 1083794 h 1737944"/>
              <a:gd name="connsiteX4" fmla="*/ 874689 w 1528839"/>
              <a:gd name="connsiteY4" fmla="*/ 1737944 h 1737944"/>
              <a:gd name="connsiteX5" fmla="*/ 867066 w 1528839"/>
              <a:gd name="connsiteY5" fmla="*/ 1737944 h 1737944"/>
              <a:gd name="connsiteX6" fmla="*/ 0 w 1528839"/>
              <a:gd name="connsiteY6" fmla="*/ 870878 h 1737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28839" h="1737944">
                <a:moveTo>
                  <a:pt x="870878" y="0"/>
                </a:moveTo>
                <a:lnTo>
                  <a:pt x="1526933" y="656056"/>
                </a:lnTo>
                <a:lnTo>
                  <a:pt x="1314018" y="868972"/>
                </a:lnTo>
                <a:lnTo>
                  <a:pt x="1528839" y="1083794"/>
                </a:lnTo>
                <a:lnTo>
                  <a:pt x="874689" y="1737944"/>
                </a:lnTo>
                <a:lnTo>
                  <a:pt x="867066" y="1737944"/>
                </a:lnTo>
                <a:lnTo>
                  <a:pt x="0" y="870878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6AB4"/>
            </a:solidFill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019"/>
            </a:lvl1pPr>
          </a:lstStyle>
          <a:p>
            <a:r>
              <a:rPr lang="ru-RU" dirty="0"/>
              <a:t>Изображение </a:t>
            </a:r>
            <a:r>
              <a:rPr lang="en-US" dirty="0"/>
              <a:t>5</a:t>
            </a:r>
            <a:endParaRPr lang="ru-RU" dirty="0"/>
          </a:p>
        </p:txBody>
      </p:sp>
      <p:sp>
        <p:nvSpPr>
          <p:cNvPr id="95" name="Текст 19"/>
          <p:cNvSpPr>
            <a:spLocks noGrp="1"/>
          </p:cNvSpPr>
          <p:nvPr>
            <p:ph type="body" sz="quarter" idx="50" hasCustomPrompt="1"/>
          </p:nvPr>
        </p:nvSpPr>
        <p:spPr>
          <a:xfrm>
            <a:off x="13500847" y="6021803"/>
            <a:ext cx="1778719" cy="464204"/>
          </a:xfr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</a:t>
            </a:r>
            <a:r>
              <a:rPr lang="ru-RU" dirty="0" smtClean="0"/>
              <a:t>9</a:t>
            </a:r>
            <a:endParaRPr lang="ru-RU" dirty="0"/>
          </a:p>
        </p:txBody>
      </p:sp>
      <p:cxnSp>
        <p:nvCxnSpPr>
          <p:cNvPr id="97" name="Прямая соединительная линия 96"/>
          <p:cNvCxnSpPr/>
          <p:nvPr userDrawn="1"/>
        </p:nvCxnSpPr>
        <p:spPr>
          <a:xfrm flipH="1">
            <a:off x="14388427" y="3850044"/>
            <a:ext cx="1" cy="2068742"/>
          </a:xfrm>
          <a:prstGeom prst="line">
            <a:avLst/>
          </a:prstGeom>
          <a:ln w="31750">
            <a:solidFill>
              <a:srgbClr val="006AB4"/>
            </a:solidFill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 rot="18900000">
            <a:off x="1671237" y="2763038"/>
            <a:ext cx="467943" cy="46866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75" name="Прямоугольник 74"/>
          <p:cNvSpPr/>
          <p:nvPr userDrawn="1"/>
        </p:nvSpPr>
        <p:spPr>
          <a:xfrm rot="18900000">
            <a:off x="4033839" y="2763038"/>
            <a:ext cx="467943" cy="46866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76" name="Прямоугольник 75"/>
          <p:cNvSpPr/>
          <p:nvPr userDrawn="1"/>
        </p:nvSpPr>
        <p:spPr>
          <a:xfrm rot="18900000">
            <a:off x="6751350" y="2763038"/>
            <a:ext cx="467943" cy="46866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77" name="Прямоугольник 76"/>
          <p:cNvSpPr/>
          <p:nvPr userDrawn="1"/>
        </p:nvSpPr>
        <p:spPr>
          <a:xfrm rot="18900000">
            <a:off x="9447295" y="2763038"/>
            <a:ext cx="467943" cy="46866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78" name="Прямоугольник 77"/>
          <p:cNvSpPr/>
          <p:nvPr userDrawn="1"/>
        </p:nvSpPr>
        <p:spPr>
          <a:xfrm rot="18900000">
            <a:off x="2816381" y="3745883"/>
            <a:ext cx="467943" cy="46866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80" name="Прямоугольник 79"/>
          <p:cNvSpPr/>
          <p:nvPr userDrawn="1"/>
        </p:nvSpPr>
        <p:spPr>
          <a:xfrm rot="18900000">
            <a:off x="8119546" y="3745884"/>
            <a:ext cx="467943" cy="46866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81" name="Прямоугольник 80"/>
          <p:cNvSpPr/>
          <p:nvPr userDrawn="1"/>
        </p:nvSpPr>
        <p:spPr>
          <a:xfrm rot="18900000">
            <a:off x="10819887" y="3745883"/>
            <a:ext cx="467943" cy="46866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88" name="Прямоугольник 87"/>
          <p:cNvSpPr/>
          <p:nvPr userDrawn="1"/>
        </p:nvSpPr>
        <p:spPr>
          <a:xfrm rot="18900000">
            <a:off x="12170172" y="2763038"/>
            <a:ext cx="467943" cy="46866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90" name="Прямоугольник 89"/>
          <p:cNvSpPr/>
          <p:nvPr userDrawn="1"/>
        </p:nvSpPr>
        <p:spPr>
          <a:xfrm rot="18900000">
            <a:off x="13513685" y="3745884"/>
            <a:ext cx="467943" cy="46866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96" name="Прямоугольник 95"/>
          <p:cNvSpPr/>
          <p:nvPr userDrawn="1"/>
        </p:nvSpPr>
        <p:spPr>
          <a:xfrm rot="18900000">
            <a:off x="14902880" y="2763038"/>
            <a:ext cx="467943" cy="46866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</p:spTree>
    <p:extLst>
      <p:ext uri="{BB962C8B-B14F-4D97-AF65-F5344CB8AC3E}">
        <p14:creationId xmlns:p14="http://schemas.microsoft.com/office/powerpoint/2010/main" val="18197378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orient="horz" pos="3074" userDrawn="1">
          <p15:clr>
            <a:srgbClr val="547EBF"/>
          </p15:clr>
        </p15:guide>
        <p15:guide id="4" orient="horz" pos="3906">
          <p15:clr>
            <a:srgbClr val="547EB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следовательность из ше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3689503" y="2477739"/>
            <a:ext cx="1589613" cy="1592068"/>
          </a:xfrm>
          <a:prstGeom prst="ellipse">
            <a:avLst/>
          </a:prstGeom>
          <a:noFill/>
          <a:ln w="38100"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4" name="Прямоугольник 13"/>
          <p:cNvSpPr/>
          <p:nvPr/>
        </p:nvSpPr>
        <p:spPr>
          <a:xfrm>
            <a:off x="4484308" y="3273772"/>
            <a:ext cx="1011206" cy="1079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16" name="Прямая соединительная линия 15"/>
          <p:cNvCxnSpPr>
            <a:endCxn id="22" idx="3"/>
          </p:cNvCxnSpPr>
          <p:nvPr/>
        </p:nvCxnSpPr>
        <p:spPr>
          <a:xfrm>
            <a:off x="5254218" y="3270204"/>
            <a:ext cx="319542" cy="1"/>
          </a:xfrm>
          <a:prstGeom prst="line">
            <a:avLst/>
          </a:prstGeom>
          <a:ln w="3810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Равнобедренный треугольник 21"/>
          <p:cNvSpPr/>
          <p:nvPr/>
        </p:nvSpPr>
        <p:spPr>
          <a:xfrm rot="5400000">
            <a:off x="5560380" y="3194363"/>
            <a:ext cx="178440" cy="151680"/>
          </a:xfrm>
          <a:prstGeom prst="triangl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rot="5400000">
            <a:off x="4324290" y="4205522"/>
            <a:ext cx="320035" cy="1"/>
          </a:xfrm>
          <a:prstGeom prst="line">
            <a:avLst/>
          </a:prstGeom>
          <a:ln w="3810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Равнобедренный треугольник 32"/>
          <p:cNvSpPr/>
          <p:nvPr/>
        </p:nvSpPr>
        <p:spPr>
          <a:xfrm rot="10800000">
            <a:off x="4395227" y="4362501"/>
            <a:ext cx="178164" cy="151914"/>
          </a:xfrm>
          <a:prstGeom prst="triangl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6" name="Овал 35"/>
          <p:cNvSpPr/>
          <p:nvPr/>
        </p:nvSpPr>
        <p:spPr>
          <a:xfrm>
            <a:off x="3914823" y="2697010"/>
            <a:ext cx="1147743" cy="1149516"/>
          </a:xfrm>
          <a:prstGeom prst="ellipse">
            <a:avLst/>
          </a:prstGeom>
          <a:noFill/>
          <a:ln w="38100"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7" name="Овал 36"/>
          <p:cNvSpPr/>
          <p:nvPr/>
        </p:nvSpPr>
        <p:spPr>
          <a:xfrm>
            <a:off x="5762569" y="2466468"/>
            <a:ext cx="1589613" cy="1592068"/>
          </a:xfrm>
          <a:prstGeom prst="ellipse">
            <a:avLst/>
          </a:prstGeom>
          <a:noFill/>
          <a:ln w="38100">
            <a:solidFill>
              <a:srgbClr val="3BA9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38" name="Прямоугольник 37"/>
          <p:cNvSpPr/>
          <p:nvPr/>
        </p:nvSpPr>
        <p:spPr>
          <a:xfrm>
            <a:off x="6557375" y="3262501"/>
            <a:ext cx="1011206" cy="1079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39" name="Прямая соединительная линия 38"/>
          <p:cNvCxnSpPr>
            <a:endCxn id="40" idx="3"/>
          </p:cNvCxnSpPr>
          <p:nvPr/>
        </p:nvCxnSpPr>
        <p:spPr>
          <a:xfrm>
            <a:off x="7327285" y="3258932"/>
            <a:ext cx="319542" cy="1"/>
          </a:xfrm>
          <a:prstGeom prst="line">
            <a:avLst/>
          </a:prstGeom>
          <a:ln w="38100">
            <a:solidFill>
              <a:srgbClr val="3BA9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Равнобедренный треугольник 39"/>
          <p:cNvSpPr/>
          <p:nvPr/>
        </p:nvSpPr>
        <p:spPr>
          <a:xfrm rot="5400000">
            <a:off x="7633447" y="3183092"/>
            <a:ext cx="178440" cy="151680"/>
          </a:xfrm>
          <a:prstGeom prst="triangl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 rot="5400000">
            <a:off x="6397357" y="4194250"/>
            <a:ext cx="320035" cy="1"/>
          </a:xfrm>
          <a:prstGeom prst="line">
            <a:avLst/>
          </a:prstGeom>
          <a:ln w="38100">
            <a:solidFill>
              <a:srgbClr val="3BA9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Равнобедренный треугольник 41"/>
          <p:cNvSpPr/>
          <p:nvPr/>
        </p:nvSpPr>
        <p:spPr>
          <a:xfrm rot="10800000">
            <a:off x="6468294" y="4351229"/>
            <a:ext cx="178164" cy="151914"/>
          </a:xfrm>
          <a:prstGeom prst="triangl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3" name="Овал 42"/>
          <p:cNvSpPr/>
          <p:nvPr/>
        </p:nvSpPr>
        <p:spPr>
          <a:xfrm>
            <a:off x="5987889" y="2685738"/>
            <a:ext cx="1147743" cy="1149516"/>
          </a:xfrm>
          <a:prstGeom prst="ellipse">
            <a:avLst/>
          </a:prstGeom>
          <a:noFill/>
          <a:ln w="38100">
            <a:solidFill>
              <a:srgbClr val="3BA9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4" name="Овал 43"/>
          <p:cNvSpPr/>
          <p:nvPr/>
        </p:nvSpPr>
        <p:spPr>
          <a:xfrm>
            <a:off x="7817515" y="2471935"/>
            <a:ext cx="1589613" cy="1592068"/>
          </a:xfrm>
          <a:prstGeom prst="ellipse">
            <a:avLst/>
          </a:prstGeom>
          <a:noFill/>
          <a:ln w="38100"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45" name="Прямоугольник 44"/>
          <p:cNvSpPr/>
          <p:nvPr/>
        </p:nvSpPr>
        <p:spPr>
          <a:xfrm>
            <a:off x="8612321" y="3267968"/>
            <a:ext cx="1011206" cy="1079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46" name="Прямая соединительная линия 45"/>
          <p:cNvCxnSpPr>
            <a:endCxn id="47" idx="3"/>
          </p:cNvCxnSpPr>
          <p:nvPr/>
        </p:nvCxnSpPr>
        <p:spPr>
          <a:xfrm flipV="1">
            <a:off x="9382231" y="3264401"/>
            <a:ext cx="316509" cy="3566"/>
          </a:xfrm>
          <a:prstGeom prst="line">
            <a:avLst/>
          </a:prstGeom>
          <a:ln w="3810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Равнобедренный треугольник 46"/>
          <p:cNvSpPr/>
          <p:nvPr/>
        </p:nvSpPr>
        <p:spPr>
          <a:xfrm rot="5400000">
            <a:off x="9685359" y="3188559"/>
            <a:ext cx="178440" cy="151680"/>
          </a:xfrm>
          <a:prstGeom prst="triangl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 rot="5400000">
            <a:off x="8452303" y="4199717"/>
            <a:ext cx="320035" cy="1"/>
          </a:xfrm>
          <a:prstGeom prst="line">
            <a:avLst/>
          </a:prstGeom>
          <a:ln w="3810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Равнобедренный треугольник 48"/>
          <p:cNvSpPr/>
          <p:nvPr/>
        </p:nvSpPr>
        <p:spPr>
          <a:xfrm rot="10800000">
            <a:off x="8523239" y="4356696"/>
            <a:ext cx="178164" cy="151914"/>
          </a:xfrm>
          <a:prstGeom prst="triangle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50" name="Овал 49"/>
          <p:cNvSpPr/>
          <p:nvPr/>
        </p:nvSpPr>
        <p:spPr>
          <a:xfrm>
            <a:off x="8042835" y="2691205"/>
            <a:ext cx="1147743" cy="1149516"/>
          </a:xfrm>
          <a:prstGeom prst="ellipse">
            <a:avLst/>
          </a:prstGeom>
          <a:noFill/>
          <a:ln w="38100"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51" name="Овал 50"/>
          <p:cNvSpPr/>
          <p:nvPr/>
        </p:nvSpPr>
        <p:spPr>
          <a:xfrm>
            <a:off x="9887628" y="2471934"/>
            <a:ext cx="1589613" cy="1592068"/>
          </a:xfrm>
          <a:prstGeom prst="ellipse">
            <a:avLst/>
          </a:prstGeom>
          <a:noFill/>
          <a:ln w="38100">
            <a:solidFill>
              <a:srgbClr val="3BA9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52" name="Прямоугольник 51"/>
          <p:cNvSpPr/>
          <p:nvPr/>
        </p:nvSpPr>
        <p:spPr>
          <a:xfrm>
            <a:off x="10682434" y="3267967"/>
            <a:ext cx="1011206" cy="1079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53" name="Прямая соединительная линия 52"/>
          <p:cNvCxnSpPr>
            <a:endCxn id="54" idx="3"/>
          </p:cNvCxnSpPr>
          <p:nvPr/>
        </p:nvCxnSpPr>
        <p:spPr>
          <a:xfrm>
            <a:off x="11452344" y="3264399"/>
            <a:ext cx="319542" cy="1"/>
          </a:xfrm>
          <a:prstGeom prst="line">
            <a:avLst/>
          </a:prstGeom>
          <a:ln w="38100">
            <a:solidFill>
              <a:srgbClr val="3BA9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Равнобедренный треугольник 53"/>
          <p:cNvSpPr/>
          <p:nvPr/>
        </p:nvSpPr>
        <p:spPr>
          <a:xfrm rot="5400000">
            <a:off x="11758506" y="3188558"/>
            <a:ext cx="178440" cy="151680"/>
          </a:xfrm>
          <a:prstGeom prst="triangl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 rot="5400000">
            <a:off x="10522416" y="4199716"/>
            <a:ext cx="320035" cy="1"/>
          </a:xfrm>
          <a:prstGeom prst="line">
            <a:avLst/>
          </a:prstGeom>
          <a:ln w="38100">
            <a:solidFill>
              <a:srgbClr val="3BA9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Равнобедренный треугольник 55"/>
          <p:cNvSpPr/>
          <p:nvPr/>
        </p:nvSpPr>
        <p:spPr>
          <a:xfrm rot="10800000">
            <a:off x="10593353" y="4356695"/>
            <a:ext cx="178164" cy="151914"/>
          </a:xfrm>
          <a:prstGeom prst="triangl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57" name="Овал 56"/>
          <p:cNvSpPr/>
          <p:nvPr/>
        </p:nvSpPr>
        <p:spPr>
          <a:xfrm>
            <a:off x="10112948" y="2691204"/>
            <a:ext cx="1147743" cy="1149516"/>
          </a:xfrm>
          <a:prstGeom prst="ellipse">
            <a:avLst/>
          </a:prstGeom>
          <a:noFill/>
          <a:ln w="38100">
            <a:solidFill>
              <a:srgbClr val="3BA9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58" name="Овал 57"/>
          <p:cNvSpPr/>
          <p:nvPr/>
        </p:nvSpPr>
        <p:spPr>
          <a:xfrm>
            <a:off x="11955839" y="2467278"/>
            <a:ext cx="1589613" cy="1592068"/>
          </a:xfrm>
          <a:prstGeom prst="ellipse">
            <a:avLst/>
          </a:prstGeom>
          <a:noFill/>
          <a:ln w="38100"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59" name="Прямоугольник 58"/>
          <p:cNvSpPr/>
          <p:nvPr/>
        </p:nvSpPr>
        <p:spPr>
          <a:xfrm>
            <a:off x="12750644" y="3263311"/>
            <a:ext cx="1011206" cy="1079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 flipH="1">
            <a:off x="13523491" y="3258932"/>
            <a:ext cx="374898" cy="0"/>
          </a:xfrm>
          <a:prstGeom prst="line">
            <a:avLst/>
          </a:prstGeom>
          <a:ln w="3810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Равнобедренный треугольник 60"/>
          <p:cNvSpPr/>
          <p:nvPr/>
        </p:nvSpPr>
        <p:spPr>
          <a:xfrm rot="5400000">
            <a:off x="13826716" y="3183902"/>
            <a:ext cx="178440" cy="151680"/>
          </a:xfrm>
          <a:prstGeom prst="triangle">
            <a:avLst/>
          </a:prstGeom>
          <a:solidFill>
            <a:srgbClr val="0065B8"/>
          </a:solidFill>
          <a:ln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62" name="Прямая соединительная линия 61"/>
          <p:cNvCxnSpPr/>
          <p:nvPr/>
        </p:nvCxnSpPr>
        <p:spPr>
          <a:xfrm rot="5400000">
            <a:off x="12590626" y="4191941"/>
            <a:ext cx="320035" cy="1"/>
          </a:xfrm>
          <a:prstGeom prst="line">
            <a:avLst/>
          </a:prstGeom>
          <a:ln w="3810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Равнобедренный треугольник 62"/>
          <p:cNvSpPr/>
          <p:nvPr/>
        </p:nvSpPr>
        <p:spPr>
          <a:xfrm rot="10800000">
            <a:off x="12661563" y="4345800"/>
            <a:ext cx="178164" cy="151914"/>
          </a:xfrm>
          <a:prstGeom prst="triangle">
            <a:avLst/>
          </a:prstGeom>
          <a:solidFill>
            <a:srgbClr val="0065B8"/>
          </a:solidFill>
          <a:ln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64" name="Овал 63"/>
          <p:cNvSpPr/>
          <p:nvPr/>
        </p:nvSpPr>
        <p:spPr>
          <a:xfrm>
            <a:off x="12181159" y="2686548"/>
            <a:ext cx="1147743" cy="1149516"/>
          </a:xfrm>
          <a:prstGeom prst="ellipse">
            <a:avLst/>
          </a:prstGeom>
          <a:noFill/>
          <a:ln w="38100">
            <a:solidFill>
              <a:srgbClr val="006A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65" name="Овал 64"/>
          <p:cNvSpPr/>
          <p:nvPr/>
        </p:nvSpPr>
        <p:spPr>
          <a:xfrm>
            <a:off x="1634623" y="2471934"/>
            <a:ext cx="1589613" cy="1592068"/>
          </a:xfrm>
          <a:prstGeom prst="ellipse">
            <a:avLst/>
          </a:prstGeom>
          <a:noFill/>
          <a:ln w="38100">
            <a:solidFill>
              <a:srgbClr val="3BA9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66" name="Прямоугольник 65"/>
          <p:cNvSpPr/>
          <p:nvPr/>
        </p:nvSpPr>
        <p:spPr>
          <a:xfrm>
            <a:off x="2429429" y="3267967"/>
            <a:ext cx="1011206" cy="1079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67" name="Прямая соединительная линия 66"/>
          <p:cNvCxnSpPr>
            <a:endCxn id="68" idx="3"/>
          </p:cNvCxnSpPr>
          <p:nvPr/>
        </p:nvCxnSpPr>
        <p:spPr>
          <a:xfrm>
            <a:off x="3199339" y="3264399"/>
            <a:ext cx="319542" cy="1"/>
          </a:xfrm>
          <a:prstGeom prst="line">
            <a:avLst/>
          </a:prstGeom>
          <a:ln w="38100">
            <a:solidFill>
              <a:srgbClr val="3BA9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Равнобедренный треугольник 67"/>
          <p:cNvSpPr/>
          <p:nvPr/>
        </p:nvSpPr>
        <p:spPr>
          <a:xfrm rot="5400000">
            <a:off x="3505501" y="3188558"/>
            <a:ext cx="178440" cy="151680"/>
          </a:xfrm>
          <a:prstGeom prst="triangl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cxnSp>
        <p:nvCxnSpPr>
          <p:cNvPr id="69" name="Прямая соединительная линия 68"/>
          <p:cNvCxnSpPr/>
          <p:nvPr/>
        </p:nvCxnSpPr>
        <p:spPr>
          <a:xfrm rot="5400000">
            <a:off x="2269411" y="4199716"/>
            <a:ext cx="320035" cy="1"/>
          </a:xfrm>
          <a:prstGeom prst="line">
            <a:avLst/>
          </a:prstGeom>
          <a:ln w="38100">
            <a:solidFill>
              <a:srgbClr val="3BA9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Равнобедренный треугольник 69"/>
          <p:cNvSpPr/>
          <p:nvPr/>
        </p:nvSpPr>
        <p:spPr>
          <a:xfrm rot="10800000">
            <a:off x="2340348" y="4356695"/>
            <a:ext cx="178164" cy="151914"/>
          </a:xfrm>
          <a:prstGeom prst="triangle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71" name="Овал 70"/>
          <p:cNvSpPr/>
          <p:nvPr/>
        </p:nvSpPr>
        <p:spPr>
          <a:xfrm>
            <a:off x="1859943" y="2691204"/>
            <a:ext cx="1147743" cy="1149516"/>
          </a:xfrm>
          <a:prstGeom prst="ellipse">
            <a:avLst/>
          </a:prstGeom>
          <a:noFill/>
          <a:ln w="38100">
            <a:solidFill>
              <a:srgbClr val="3BA9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82" name="Скругленный прямоугольник 81"/>
          <p:cNvSpPr/>
          <p:nvPr/>
        </p:nvSpPr>
        <p:spPr>
          <a:xfrm>
            <a:off x="1570305" y="4848398"/>
            <a:ext cx="1718244" cy="2223756"/>
          </a:xfrm>
          <a:prstGeom prst="roundRect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84" name="Скругленный прямоугольник 83"/>
          <p:cNvSpPr/>
          <p:nvPr/>
        </p:nvSpPr>
        <p:spPr>
          <a:xfrm>
            <a:off x="3629617" y="4848911"/>
            <a:ext cx="1718244" cy="2223756"/>
          </a:xfrm>
          <a:prstGeom prst="round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85" name="Скругленный прямоугольник 84"/>
          <p:cNvSpPr/>
          <p:nvPr/>
        </p:nvSpPr>
        <p:spPr>
          <a:xfrm>
            <a:off x="5695824" y="4848912"/>
            <a:ext cx="1718244" cy="2223756"/>
          </a:xfrm>
          <a:prstGeom prst="roundRect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86" name="Скругленный прямоугольник 85"/>
          <p:cNvSpPr/>
          <p:nvPr/>
        </p:nvSpPr>
        <p:spPr>
          <a:xfrm>
            <a:off x="7755624" y="4850628"/>
            <a:ext cx="1718244" cy="2223756"/>
          </a:xfrm>
          <a:prstGeom prst="round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87" name="Скругленный прямоугольник 86"/>
          <p:cNvSpPr/>
          <p:nvPr/>
        </p:nvSpPr>
        <p:spPr>
          <a:xfrm>
            <a:off x="9824862" y="4852990"/>
            <a:ext cx="1718244" cy="2223756"/>
          </a:xfrm>
          <a:prstGeom prst="roundRect">
            <a:avLst/>
          </a:prstGeom>
          <a:solidFill>
            <a:srgbClr val="3BA9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11890199" y="4850170"/>
            <a:ext cx="1718244" cy="2223756"/>
          </a:xfrm>
          <a:prstGeom prst="round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90" name="Прямоугольник с двумя скругленными соседними углами 89"/>
          <p:cNvSpPr/>
          <p:nvPr/>
        </p:nvSpPr>
        <p:spPr>
          <a:xfrm rot="10800000">
            <a:off x="1680441" y="5799100"/>
            <a:ext cx="1489424" cy="1151521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91" name="Прямоугольник с двумя скругленными соседними углами 90"/>
          <p:cNvSpPr/>
          <p:nvPr/>
        </p:nvSpPr>
        <p:spPr>
          <a:xfrm rot="10800000">
            <a:off x="3739595" y="5799100"/>
            <a:ext cx="1489424" cy="1151521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92" name="Прямоугольник с двумя скругленными соседними углами 91"/>
          <p:cNvSpPr/>
          <p:nvPr/>
        </p:nvSpPr>
        <p:spPr>
          <a:xfrm rot="10800000">
            <a:off x="5810234" y="5799100"/>
            <a:ext cx="1489424" cy="1151521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863" rtlCol="0" anchor="ctr"/>
          <a:lstStyle/>
          <a:p>
            <a:pPr algn="ctr"/>
            <a:endParaRPr lang="ru-RU" sz="2293"/>
          </a:p>
        </p:txBody>
      </p:sp>
      <p:sp>
        <p:nvSpPr>
          <p:cNvPr id="93" name="Прямоугольник с двумя скругленными соседними углами 92"/>
          <p:cNvSpPr/>
          <p:nvPr/>
        </p:nvSpPr>
        <p:spPr>
          <a:xfrm rot="10800000">
            <a:off x="7860562" y="5801000"/>
            <a:ext cx="1489424" cy="1151521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863" rtlCol="0" anchor="ctr"/>
          <a:lstStyle/>
          <a:p>
            <a:pPr algn="ctr"/>
            <a:endParaRPr lang="ru-RU" sz="2293"/>
          </a:p>
        </p:txBody>
      </p:sp>
      <p:sp>
        <p:nvSpPr>
          <p:cNvPr id="94" name="Прямоугольник с двумя скругленными соседними углами 93"/>
          <p:cNvSpPr/>
          <p:nvPr/>
        </p:nvSpPr>
        <p:spPr>
          <a:xfrm rot="10800000">
            <a:off x="9937720" y="5801000"/>
            <a:ext cx="1489424" cy="1151521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863" rtlCol="0" anchor="ctr"/>
          <a:lstStyle/>
          <a:p>
            <a:pPr algn="ctr"/>
            <a:endParaRPr lang="ru-RU" sz="2293"/>
          </a:p>
        </p:txBody>
      </p:sp>
      <p:sp>
        <p:nvSpPr>
          <p:cNvPr id="95" name="Прямоугольник с двумя скругленными соседними углами 94"/>
          <p:cNvSpPr/>
          <p:nvPr/>
        </p:nvSpPr>
        <p:spPr>
          <a:xfrm rot="10800000">
            <a:off x="12004609" y="5806804"/>
            <a:ext cx="1489424" cy="1151521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863" rtlCol="0" anchor="ctr"/>
          <a:lstStyle/>
          <a:p>
            <a:pPr algn="ctr"/>
            <a:endParaRPr lang="ru-RU" sz="2293"/>
          </a:p>
        </p:txBody>
      </p:sp>
      <p:sp>
        <p:nvSpPr>
          <p:cNvPr id="96" name="Текст 19"/>
          <p:cNvSpPr>
            <a:spLocks noGrp="1"/>
          </p:cNvSpPr>
          <p:nvPr>
            <p:ph type="body" sz="quarter" idx="23" hasCustomPrompt="1"/>
          </p:nvPr>
        </p:nvSpPr>
        <p:spPr>
          <a:xfrm>
            <a:off x="1570305" y="5160193"/>
            <a:ext cx="1704862" cy="351800"/>
          </a:xfrm>
        </p:spPr>
        <p:txBody>
          <a:bodyPr>
            <a:noAutofit/>
          </a:bodyPr>
          <a:lstStyle>
            <a:lvl1pPr marL="0" indent="0" algn="ctr">
              <a:buNone/>
              <a:defRPr sz="1784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ПУНКТ </a:t>
            </a:r>
            <a:r>
              <a:rPr lang="en-US" dirty="0"/>
              <a:t>1</a:t>
            </a:r>
            <a:endParaRPr lang="ru-RU" dirty="0"/>
          </a:p>
        </p:txBody>
      </p:sp>
      <p:sp>
        <p:nvSpPr>
          <p:cNvPr id="97" name="Текст 19"/>
          <p:cNvSpPr>
            <a:spLocks noGrp="1"/>
          </p:cNvSpPr>
          <p:nvPr>
            <p:ph type="body" sz="quarter" idx="24" hasCustomPrompt="1"/>
          </p:nvPr>
        </p:nvSpPr>
        <p:spPr>
          <a:xfrm>
            <a:off x="3629301" y="5156265"/>
            <a:ext cx="1704862" cy="351800"/>
          </a:xfrm>
        </p:spPr>
        <p:txBody>
          <a:bodyPr>
            <a:noAutofit/>
          </a:bodyPr>
          <a:lstStyle>
            <a:lvl1pPr marL="0" indent="0" algn="ctr">
              <a:buNone/>
              <a:defRPr sz="1784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ПУНКТ 2</a:t>
            </a:r>
          </a:p>
        </p:txBody>
      </p:sp>
      <p:sp>
        <p:nvSpPr>
          <p:cNvPr id="98" name="Текст 19"/>
          <p:cNvSpPr>
            <a:spLocks noGrp="1"/>
          </p:cNvSpPr>
          <p:nvPr>
            <p:ph type="body" sz="quarter" idx="25" hasCustomPrompt="1"/>
          </p:nvPr>
        </p:nvSpPr>
        <p:spPr>
          <a:xfrm>
            <a:off x="5701171" y="5166297"/>
            <a:ext cx="1704862" cy="351800"/>
          </a:xfrm>
        </p:spPr>
        <p:txBody>
          <a:bodyPr>
            <a:noAutofit/>
          </a:bodyPr>
          <a:lstStyle>
            <a:lvl1pPr marL="0" indent="0" algn="ctr">
              <a:buNone/>
              <a:defRPr sz="1784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ПУНКТ </a:t>
            </a:r>
            <a:r>
              <a:rPr lang="en-US" dirty="0"/>
              <a:t>3</a:t>
            </a:r>
            <a:endParaRPr lang="ru-RU" dirty="0"/>
          </a:p>
        </p:txBody>
      </p:sp>
      <p:sp>
        <p:nvSpPr>
          <p:cNvPr id="99" name="Текст 19"/>
          <p:cNvSpPr>
            <a:spLocks noGrp="1"/>
          </p:cNvSpPr>
          <p:nvPr>
            <p:ph type="body" sz="quarter" idx="26" hasCustomPrompt="1"/>
          </p:nvPr>
        </p:nvSpPr>
        <p:spPr>
          <a:xfrm>
            <a:off x="7758655" y="5164276"/>
            <a:ext cx="1704862" cy="351800"/>
          </a:xfrm>
        </p:spPr>
        <p:txBody>
          <a:bodyPr>
            <a:noAutofit/>
          </a:bodyPr>
          <a:lstStyle>
            <a:lvl1pPr marL="0" indent="0" algn="ctr">
              <a:buNone/>
              <a:defRPr sz="1784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ПУНКТ </a:t>
            </a:r>
            <a:r>
              <a:rPr lang="en-US" dirty="0"/>
              <a:t>4</a:t>
            </a:r>
            <a:endParaRPr lang="ru-RU" dirty="0"/>
          </a:p>
        </p:txBody>
      </p:sp>
      <p:sp>
        <p:nvSpPr>
          <p:cNvPr id="100" name="Текст 19"/>
          <p:cNvSpPr>
            <a:spLocks noGrp="1"/>
          </p:cNvSpPr>
          <p:nvPr>
            <p:ph type="body" sz="quarter" idx="27" hasCustomPrompt="1"/>
          </p:nvPr>
        </p:nvSpPr>
        <p:spPr>
          <a:xfrm>
            <a:off x="9835436" y="5155007"/>
            <a:ext cx="1704862" cy="351800"/>
          </a:xfrm>
        </p:spPr>
        <p:txBody>
          <a:bodyPr>
            <a:noAutofit/>
          </a:bodyPr>
          <a:lstStyle>
            <a:lvl1pPr marL="0" indent="0" algn="ctr">
              <a:buNone/>
              <a:defRPr sz="1784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ПУНКТ </a:t>
            </a:r>
            <a:r>
              <a:rPr lang="en-US" dirty="0"/>
              <a:t>5</a:t>
            </a:r>
            <a:endParaRPr lang="ru-RU" dirty="0"/>
          </a:p>
        </p:txBody>
      </p:sp>
      <p:sp>
        <p:nvSpPr>
          <p:cNvPr id="101" name="Текст 19"/>
          <p:cNvSpPr>
            <a:spLocks noGrp="1"/>
          </p:cNvSpPr>
          <p:nvPr>
            <p:ph type="body" sz="quarter" idx="28" hasCustomPrompt="1"/>
          </p:nvPr>
        </p:nvSpPr>
        <p:spPr>
          <a:xfrm>
            <a:off x="11890200" y="5158497"/>
            <a:ext cx="1704862" cy="351800"/>
          </a:xfrm>
        </p:spPr>
        <p:txBody>
          <a:bodyPr>
            <a:noAutofit/>
          </a:bodyPr>
          <a:lstStyle>
            <a:lvl1pPr marL="0" indent="0" algn="ctr">
              <a:buNone/>
              <a:defRPr sz="1784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ПУНКТ </a:t>
            </a:r>
            <a:r>
              <a:rPr lang="en-US" dirty="0"/>
              <a:t>6</a:t>
            </a:r>
            <a:endParaRPr lang="ru-RU" dirty="0"/>
          </a:p>
        </p:txBody>
      </p:sp>
      <p:sp>
        <p:nvSpPr>
          <p:cNvPr id="102" name="Текст 19"/>
          <p:cNvSpPr>
            <a:spLocks noGrp="1"/>
          </p:cNvSpPr>
          <p:nvPr>
            <p:ph type="body" sz="quarter" idx="29" hasCustomPrompt="1"/>
          </p:nvPr>
        </p:nvSpPr>
        <p:spPr>
          <a:xfrm>
            <a:off x="1680442" y="5795171"/>
            <a:ext cx="1489425" cy="1155449"/>
          </a:xfrm>
        </p:spPr>
        <p:txBody>
          <a:bodyPr lIns="36000" rIns="0">
            <a:normAutofit/>
          </a:bodyPr>
          <a:lstStyle>
            <a:lvl1pPr marL="0" indent="0" algn="l">
              <a:buNone/>
              <a:defRPr sz="892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СОСТАВЛЯЮЩЕЙ</a:t>
            </a:r>
          </a:p>
        </p:txBody>
      </p:sp>
      <p:sp>
        <p:nvSpPr>
          <p:cNvPr id="103" name="Текст 19"/>
          <p:cNvSpPr>
            <a:spLocks noGrp="1"/>
          </p:cNvSpPr>
          <p:nvPr>
            <p:ph type="body" sz="quarter" idx="30" hasCustomPrompt="1"/>
          </p:nvPr>
        </p:nvSpPr>
        <p:spPr>
          <a:xfrm>
            <a:off x="3739593" y="5797275"/>
            <a:ext cx="1489425" cy="1155449"/>
          </a:xfrm>
        </p:spPr>
        <p:txBody>
          <a:bodyPr lIns="36000" rIns="0">
            <a:normAutofit/>
          </a:bodyPr>
          <a:lstStyle>
            <a:lvl1pPr marL="0" indent="0" algn="l">
              <a:buNone/>
              <a:defRPr sz="892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СОСТАВЛЯЮЩЕЙ</a:t>
            </a:r>
          </a:p>
        </p:txBody>
      </p:sp>
      <p:sp>
        <p:nvSpPr>
          <p:cNvPr id="104" name="Текст 19"/>
          <p:cNvSpPr>
            <a:spLocks noGrp="1"/>
          </p:cNvSpPr>
          <p:nvPr>
            <p:ph type="body" sz="quarter" idx="31" hasCustomPrompt="1"/>
          </p:nvPr>
        </p:nvSpPr>
        <p:spPr>
          <a:xfrm>
            <a:off x="5810359" y="5806805"/>
            <a:ext cx="1489425" cy="1155449"/>
          </a:xfrm>
        </p:spPr>
        <p:txBody>
          <a:bodyPr lIns="36000" rIns="36000">
            <a:normAutofit/>
          </a:bodyPr>
          <a:lstStyle>
            <a:lvl1pPr marL="0" indent="0" algn="l">
              <a:buNone/>
              <a:defRPr sz="892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СОСТАВЛЯЮЩЕЙ</a:t>
            </a:r>
          </a:p>
        </p:txBody>
      </p:sp>
      <p:sp>
        <p:nvSpPr>
          <p:cNvPr id="105" name="Текст 19"/>
          <p:cNvSpPr>
            <a:spLocks noGrp="1"/>
          </p:cNvSpPr>
          <p:nvPr>
            <p:ph type="body" sz="quarter" idx="32" hasCustomPrompt="1"/>
          </p:nvPr>
        </p:nvSpPr>
        <p:spPr>
          <a:xfrm>
            <a:off x="7860560" y="5806849"/>
            <a:ext cx="1489425" cy="1155449"/>
          </a:xfrm>
        </p:spPr>
        <p:txBody>
          <a:bodyPr lIns="36000" rIns="36000">
            <a:normAutofit/>
          </a:bodyPr>
          <a:lstStyle>
            <a:lvl1pPr marL="0" indent="0" algn="l">
              <a:buNone/>
              <a:defRPr sz="892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СОСТАВЛЯЮЩЕЙ</a:t>
            </a:r>
          </a:p>
        </p:txBody>
      </p:sp>
      <p:sp>
        <p:nvSpPr>
          <p:cNvPr id="106" name="Текст 19"/>
          <p:cNvSpPr>
            <a:spLocks noGrp="1"/>
          </p:cNvSpPr>
          <p:nvPr>
            <p:ph type="body" sz="quarter" idx="33" hasCustomPrompt="1"/>
          </p:nvPr>
        </p:nvSpPr>
        <p:spPr>
          <a:xfrm>
            <a:off x="9934766" y="5808281"/>
            <a:ext cx="1489425" cy="1155449"/>
          </a:xfrm>
        </p:spPr>
        <p:txBody>
          <a:bodyPr lIns="36000" rIns="36000">
            <a:normAutofit/>
          </a:bodyPr>
          <a:lstStyle>
            <a:lvl1pPr marL="0" indent="0" algn="l">
              <a:buNone/>
              <a:defRPr sz="892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СОСТАВЛЯЮЩЕЙ</a:t>
            </a:r>
          </a:p>
        </p:txBody>
      </p:sp>
      <p:sp>
        <p:nvSpPr>
          <p:cNvPr id="107" name="Текст 19"/>
          <p:cNvSpPr>
            <a:spLocks noGrp="1"/>
          </p:cNvSpPr>
          <p:nvPr>
            <p:ph type="body" sz="quarter" idx="34" hasCustomPrompt="1"/>
          </p:nvPr>
        </p:nvSpPr>
        <p:spPr>
          <a:xfrm>
            <a:off x="12005531" y="5808431"/>
            <a:ext cx="1489425" cy="1155449"/>
          </a:xfrm>
        </p:spPr>
        <p:txBody>
          <a:bodyPr lIns="36000" rIns="36000">
            <a:normAutofit/>
          </a:bodyPr>
          <a:lstStyle>
            <a:lvl1pPr marL="0" indent="0" algn="l">
              <a:buNone/>
              <a:defRPr sz="892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ru-RU" dirty="0"/>
              <a:t>ОПИСАНИЕ СОСТАВЛЯЮЩЕЙ</a:t>
            </a:r>
          </a:p>
        </p:txBody>
      </p:sp>
      <p:sp>
        <p:nvSpPr>
          <p:cNvPr id="7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Рисунок 7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77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10616357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56">
          <p15:clr>
            <a:srgbClr val="547EBF"/>
          </p15:clr>
        </p15:guide>
        <p15:guide id="2" pos="6947">
          <p15:clr>
            <a:srgbClr val="547EBF"/>
          </p15:clr>
        </p15:guide>
        <p15:guide id="3" orient="horz" pos="867">
          <p15:clr>
            <a:srgbClr val="547EBF"/>
          </p15:clr>
        </p15:guide>
        <p15:guide id="4" orient="horz" pos="3952">
          <p15:clr>
            <a:srgbClr val="547EBF"/>
          </p15:clr>
        </p15:guide>
        <p15:guide id="5" pos="3840">
          <p15:clr>
            <a:srgbClr val="FBAE40"/>
          </p15:clr>
        </p15:guide>
        <p15:guide id="6" pos="2819">
          <p15:clr>
            <a:srgbClr val="FBAE40"/>
          </p15:clr>
        </p15:guide>
        <p15:guide id="7" pos="1799">
          <p15:clr>
            <a:srgbClr val="FBAE40"/>
          </p15:clr>
        </p15:guide>
        <p15:guide id="8" pos="4861">
          <p15:clr>
            <a:srgbClr val="FBAE40"/>
          </p15:clr>
        </p15:guide>
        <p15:guide id="9" pos="5881">
          <p15:clr>
            <a:srgbClr val="FBAE40"/>
          </p15:clr>
        </p15:guide>
        <p15:guide id="10" orient="horz" pos="259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изображением и составляющи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3" hasCustomPrompt="1"/>
          </p:nvPr>
        </p:nvSpPr>
        <p:spPr>
          <a:xfrm>
            <a:off x="5407984" y="2172612"/>
            <a:ext cx="4738376" cy="4745694"/>
          </a:xfrm>
          <a:prstGeom prst="roundRect">
            <a:avLst>
              <a:gd name="adj" fmla="val 8023"/>
            </a:avLst>
          </a:prstGeom>
        </p:spPr>
        <p:txBody>
          <a:bodyPr lIns="0" tIns="972000" anchor="ctr">
            <a:normAutofit/>
          </a:bodyPr>
          <a:lstStyle>
            <a:lvl1pPr marL="0" indent="0" algn="ctr">
              <a:buNone/>
              <a:defRPr sz="2293" baseline="0"/>
            </a:lvl1pPr>
          </a:lstStyle>
          <a:p>
            <a:r>
              <a:rPr lang="ru-RU" dirty="0"/>
              <a:t>Вставьте изображение</a:t>
            </a:r>
          </a:p>
        </p:txBody>
      </p:sp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cxnSp>
        <p:nvCxnSpPr>
          <p:cNvPr id="17" name="Соединительная линия уступом 16"/>
          <p:cNvCxnSpPr/>
          <p:nvPr/>
        </p:nvCxnSpPr>
        <p:spPr>
          <a:xfrm rot="16200000" flipH="1">
            <a:off x="3813106" y="2191489"/>
            <a:ext cx="1288933" cy="1286945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ная линия уступом 18"/>
          <p:cNvCxnSpPr/>
          <p:nvPr/>
        </p:nvCxnSpPr>
        <p:spPr>
          <a:xfrm rot="16200000" flipH="1">
            <a:off x="3813106" y="3682876"/>
            <a:ext cx="1288933" cy="1286945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Соединительная линия уступом 19"/>
          <p:cNvCxnSpPr/>
          <p:nvPr/>
        </p:nvCxnSpPr>
        <p:spPr>
          <a:xfrm rot="5400000">
            <a:off x="10456269" y="2191489"/>
            <a:ext cx="1288933" cy="1286945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20"/>
          <p:cNvCxnSpPr/>
          <p:nvPr/>
        </p:nvCxnSpPr>
        <p:spPr>
          <a:xfrm rot="5400000">
            <a:off x="10456269" y="3682876"/>
            <a:ext cx="1288933" cy="1286945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1458158" y="2082696"/>
            <a:ext cx="2254902" cy="402266"/>
          </a:xfrm>
        </p:spPr>
        <p:txBody>
          <a:bodyPr>
            <a:normAutofit/>
          </a:bodyPr>
          <a:lstStyle>
            <a:lvl1pPr marL="0" indent="0" algn="r">
              <a:buNone/>
              <a:defRPr sz="1656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  <p:sp>
        <p:nvSpPr>
          <p:cNvPr id="24" name="Текст 19"/>
          <p:cNvSpPr>
            <a:spLocks noGrp="1"/>
          </p:cNvSpPr>
          <p:nvPr>
            <p:ph type="body" sz="quarter" idx="21" hasCustomPrompt="1"/>
          </p:nvPr>
        </p:nvSpPr>
        <p:spPr>
          <a:xfrm>
            <a:off x="1458158" y="3516838"/>
            <a:ext cx="2254902" cy="402266"/>
          </a:xfrm>
        </p:spPr>
        <p:txBody>
          <a:bodyPr>
            <a:normAutofit/>
          </a:bodyPr>
          <a:lstStyle>
            <a:lvl1pPr marL="0" indent="0" algn="r">
              <a:buNone/>
              <a:defRPr sz="1656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  <p:sp>
        <p:nvSpPr>
          <p:cNvPr id="26" name="Текст 19"/>
          <p:cNvSpPr>
            <a:spLocks noGrp="1"/>
          </p:cNvSpPr>
          <p:nvPr>
            <p:ph type="body" sz="quarter" idx="23" hasCustomPrompt="1"/>
          </p:nvPr>
        </p:nvSpPr>
        <p:spPr>
          <a:xfrm>
            <a:off x="11841284" y="2082696"/>
            <a:ext cx="2208391" cy="402266"/>
          </a:xfrm>
        </p:spPr>
        <p:txBody>
          <a:bodyPr>
            <a:normAutofit/>
          </a:bodyPr>
          <a:lstStyle>
            <a:lvl1pPr marL="0" indent="0" algn="l">
              <a:buNone/>
              <a:defRPr sz="1656" baseline="0">
                <a:latin typeface="+mj-lt"/>
              </a:defRPr>
            </a:lvl1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28" name="Текст 19"/>
          <p:cNvSpPr>
            <a:spLocks noGrp="1"/>
          </p:cNvSpPr>
          <p:nvPr>
            <p:ph type="body" sz="quarter" idx="25" hasCustomPrompt="1"/>
          </p:nvPr>
        </p:nvSpPr>
        <p:spPr>
          <a:xfrm>
            <a:off x="11841284" y="3516838"/>
            <a:ext cx="2208391" cy="402266"/>
          </a:xfrm>
        </p:spPr>
        <p:txBody>
          <a:bodyPr>
            <a:normAutofit/>
          </a:bodyPr>
          <a:lstStyle>
            <a:lvl1pPr marL="0" indent="0" algn="l">
              <a:buNone/>
              <a:defRPr sz="1656" baseline="0">
                <a:latin typeface="+mj-lt"/>
              </a:defRPr>
            </a:lvl1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30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Рисунок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35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  <p:cxnSp>
        <p:nvCxnSpPr>
          <p:cNvPr id="34" name="Соединительная линия уступом 33"/>
          <p:cNvCxnSpPr/>
          <p:nvPr userDrawn="1"/>
        </p:nvCxnSpPr>
        <p:spPr>
          <a:xfrm rot="16200000" flipH="1">
            <a:off x="3813106" y="5136853"/>
            <a:ext cx="1288933" cy="1286945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Соединительная линия уступом 35"/>
          <p:cNvCxnSpPr/>
          <p:nvPr userDrawn="1"/>
        </p:nvCxnSpPr>
        <p:spPr>
          <a:xfrm rot="5400000">
            <a:off x="10456269" y="5136853"/>
            <a:ext cx="1288933" cy="1286945"/>
          </a:xfrm>
          <a:prstGeom prst="bentConnector3">
            <a:avLst>
              <a:gd name="adj1" fmla="val 50862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Текст 19"/>
          <p:cNvSpPr>
            <a:spLocks noGrp="1"/>
          </p:cNvSpPr>
          <p:nvPr>
            <p:ph type="body" sz="quarter" idx="27" hasCustomPrompt="1"/>
          </p:nvPr>
        </p:nvSpPr>
        <p:spPr>
          <a:xfrm>
            <a:off x="1458158" y="4970815"/>
            <a:ext cx="2254902" cy="402266"/>
          </a:xfrm>
        </p:spPr>
        <p:txBody>
          <a:bodyPr>
            <a:normAutofit/>
          </a:bodyPr>
          <a:lstStyle>
            <a:lvl1pPr marL="0" indent="0" algn="r">
              <a:buNone/>
              <a:defRPr sz="1656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  <p:sp>
        <p:nvSpPr>
          <p:cNvPr id="39" name="Текст 19"/>
          <p:cNvSpPr>
            <a:spLocks noGrp="1"/>
          </p:cNvSpPr>
          <p:nvPr>
            <p:ph type="body" sz="quarter" idx="29" hasCustomPrompt="1"/>
          </p:nvPr>
        </p:nvSpPr>
        <p:spPr>
          <a:xfrm>
            <a:off x="11841284" y="4970815"/>
            <a:ext cx="2208391" cy="402266"/>
          </a:xfrm>
        </p:spPr>
        <p:txBody>
          <a:bodyPr>
            <a:normAutofit/>
          </a:bodyPr>
          <a:lstStyle>
            <a:lvl1pPr marL="0" indent="0" algn="l">
              <a:buNone/>
              <a:defRPr sz="1656" baseline="0">
                <a:latin typeface="+mj-lt"/>
              </a:defRPr>
            </a:lvl1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41" name="Текст 19"/>
          <p:cNvSpPr>
            <a:spLocks noGrp="1"/>
          </p:cNvSpPr>
          <p:nvPr>
            <p:ph type="body" sz="quarter" idx="30" hasCustomPrompt="1"/>
          </p:nvPr>
        </p:nvSpPr>
        <p:spPr>
          <a:xfrm>
            <a:off x="8198397" y="7377172"/>
            <a:ext cx="2254902" cy="402266"/>
          </a:xfrm>
        </p:spPr>
        <p:txBody>
          <a:bodyPr>
            <a:normAutofit/>
          </a:bodyPr>
          <a:lstStyle>
            <a:lvl1pPr marL="0" indent="0" algn="l">
              <a:buNone/>
              <a:defRPr sz="1656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  <p:cxnSp>
        <p:nvCxnSpPr>
          <p:cNvPr id="43" name="Соединительная линия уступом 42"/>
          <p:cNvCxnSpPr/>
          <p:nvPr userDrawn="1"/>
        </p:nvCxnSpPr>
        <p:spPr>
          <a:xfrm rot="16200000" flipH="1">
            <a:off x="7991254" y="6879723"/>
            <a:ext cx="1168244" cy="974236"/>
          </a:xfrm>
          <a:prstGeom prst="bentConnector3">
            <a:avLst>
              <a:gd name="adj1" fmla="val 98823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Соединительная линия уступом 22"/>
          <p:cNvCxnSpPr/>
          <p:nvPr userDrawn="1"/>
        </p:nvCxnSpPr>
        <p:spPr>
          <a:xfrm rot="5400000">
            <a:off x="6378981" y="6879723"/>
            <a:ext cx="1168244" cy="974236"/>
          </a:xfrm>
          <a:prstGeom prst="bentConnector3">
            <a:avLst>
              <a:gd name="adj1" fmla="val 98823"/>
            </a:avLst>
          </a:prstGeom>
          <a:ln w="50800" cap="rnd">
            <a:solidFill>
              <a:srgbClr val="006AB4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Текст 19"/>
          <p:cNvSpPr>
            <a:spLocks noGrp="1"/>
          </p:cNvSpPr>
          <p:nvPr>
            <p:ph type="body" sz="quarter" idx="31" hasCustomPrompt="1"/>
          </p:nvPr>
        </p:nvSpPr>
        <p:spPr>
          <a:xfrm>
            <a:off x="5029516" y="7377172"/>
            <a:ext cx="2254902" cy="402266"/>
          </a:xfrm>
        </p:spPr>
        <p:txBody>
          <a:bodyPr>
            <a:normAutofit/>
          </a:bodyPr>
          <a:lstStyle>
            <a:lvl1pPr marL="0" indent="0" algn="r">
              <a:buNone/>
              <a:defRPr sz="1656" baseline="0">
                <a:latin typeface="+mj-lt"/>
              </a:defRPr>
            </a:lvl1pPr>
          </a:lstStyle>
          <a:p>
            <a:pPr lvl="0"/>
            <a:r>
              <a:rPr lang="ru-RU" dirty="0"/>
              <a:t>СОСТАВЛЯЮЩАЯ 1</a:t>
            </a:r>
          </a:p>
        </p:txBody>
      </p:sp>
    </p:spTree>
    <p:extLst>
      <p:ext uri="{BB962C8B-B14F-4D97-AF65-F5344CB8AC3E}">
        <p14:creationId xmlns:p14="http://schemas.microsoft.com/office/powerpoint/2010/main" val="39115129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3">
          <p15:clr>
            <a:srgbClr val="547EBF"/>
          </p15:clr>
        </p15:guide>
        <p15:guide id="2" pos="6947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/>
          <p:cNvSpPr>
            <a:spLocks noGrp="1"/>
          </p:cNvSpPr>
          <p:nvPr>
            <p:ph type="pic" sz="quarter" idx="16" hasCustomPrompt="1"/>
          </p:nvPr>
        </p:nvSpPr>
        <p:spPr>
          <a:xfrm>
            <a:off x="9211971" y="2548336"/>
            <a:ext cx="6320131" cy="6201966"/>
          </a:xfrm>
          <a:custGeom>
            <a:avLst/>
            <a:gdLst>
              <a:gd name="connsiteX0" fmla="*/ 3314700 w 4961019"/>
              <a:gd name="connsiteY0" fmla="*/ 0 h 4860757"/>
              <a:gd name="connsiteX1" fmla="*/ 4894683 w 4961019"/>
              <a:gd name="connsiteY1" fmla="*/ 400067 h 4860757"/>
              <a:gd name="connsiteX2" fmla="*/ 4961019 w 4961019"/>
              <a:gd name="connsiteY2" fmla="*/ 440367 h 4860757"/>
              <a:gd name="connsiteX3" fmla="*/ 4961019 w 4961019"/>
              <a:gd name="connsiteY3" fmla="*/ 4860757 h 4860757"/>
              <a:gd name="connsiteX4" fmla="*/ 383724 w 4961019"/>
              <a:gd name="connsiteY4" fmla="*/ 4860757 h 4860757"/>
              <a:gd name="connsiteX5" fmla="*/ 260486 w 4961019"/>
              <a:gd name="connsiteY5" fmla="*/ 4604931 h 4860757"/>
              <a:gd name="connsiteX6" fmla="*/ 0 w 4961019"/>
              <a:gd name="connsiteY6" fmla="*/ 3314700 h 4860757"/>
              <a:gd name="connsiteX7" fmla="*/ 3314700 w 4961019"/>
              <a:gd name="connsiteY7" fmla="*/ 0 h 4860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61019" h="4860757">
                <a:moveTo>
                  <a:pt x="3314700" y="0"/>
                </a:moveTo>
                <a:cubicBezTo>
                  <a:pt x="3886781" y="0"/>
                  <a:pt x="4425012" y="144926"/>
                  <a:pt x="4894683" y="400067"/>
                </a:cubicBezTo>
                <a:lnTo>
                  <a:pt x="4961019" y="440367"/>
                </a:lnTo>
                <a:lnTo>
                  <a:pt x="4961019" y="4860757"/>
                </a:lnTo>
                <a:lnTo>
                  <a:pt x="383724" y="4860757"/>
                </a:lnTo>
                <a:lnTo>
                  <a:pt x="260486" y="4604931"/>
                </a:lnTo>
                <a:cubicBezTo>
                  <a:pt x="92753" y="4208366"/>
                  <a:pt x="0" y="3772365"/>
                  <a:pt x="0" y="3314700"/>
                </a:cubicBezTo>
                <a:cubicBezTo>
                  <a:pt x="0" y="1484042"/>
                  <a:pt x="1484042" y="0"/>
                  <a:pt x="3314700" y="0"/>
                </a:cubicBezTo>
                <a:close/>
              </a:path>
            </a:pathLst>
          </a:custGeom>
          <a:ln>
            <a:noFill/>
          </a:ln>
        </p:spPr>
        <p:txBody>
          <a:bodyPr wrap="square" tIns="792000" anchor="ctr">
            <a:noAutofit/>
          </a:bodyPr>
          <a:lstStyle>
            <a:lvl1pPr marL="0" indent="0" algn="ctr">
              <a:buNone/>
              <a:defRPr sz="1529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ьте изображение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096" y="753007"/>
            <a:ext cx="3213689" cy="680370"/>
          </a:xfrm>
          <a:prstGeom prst="rect">
            <a:avLst/>
          </a:prstGeom>
        </p:spPr>
      </p:pic>
      <p:sp>
        <p:nvSpPr>
          <p:cNvPr id="9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996308" y="3589784"/>
            <a:ext cx="7296836" cy="887140"/>
          </a:xfrm>
          <a:noFill/>
        </p:spPr>
        <p:txBody>
          <a:bodyPr tIns="0" bIns="0" anchor="t">
            <a:normAutofit/>
          </a:bodyPr>
          <a:lstStyle>
            <a:lvl1pPr marL="0" indent="0" algn="l">
              <a:buNone/>
              <a:defRPr sz="2803" b="1" baseline="0">
                <a:solidFill>
                  <a:srgbClr val="006AB4"/>
                </a:solidFill>
                <a:latin typeface="+mj-lt"/>
                <a:ea typeface="Stem Bold" panose="020B0703020203020204" pitchFamily="34" charset="-52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ДЛИННОГО НАЗВАНИЯ ПРЕЗЕНТАЦИИ </a:t>
            </a:r>
          </a:p>
        </p:txBody>
      </p:sp>
      <p:sp>
        <p:nvSpPr>
          <p:cNvPr id="12" name="Текст 20"/>
          <p:cNvSpPr>
            <a:spLocks noGrp="1"/>
          </p:cNvSpPr>
          <p:nvPr>
            <p:ph type="body" sz="quarter" idx="12" hasCustomPrompt="1"/>
          </p:nvPr>
        </p:nvSpPr>
        <p:spPr>
          <a:xfrm>
            <a:off x="980980" y="7834269"/>
            <a:ext cx="7879295" cy="332964"/>
          </a:xfrm>
        </p:spPr>
        <p:txBody>
          <a:bodyPr tIns="0" bIns="0" anchor="t">
            <a:noAutofit/>
          </a:bodyPr>
          <a:lstStyle>
            <a:lvl1pPr marL="0" indent="0" algn="l">
              <a:buNone/>
              <a:defRPr sz="1529" b="0" i="0" baseline="0">
                <a:solidFill>
                  <a:schemeClr val="tx1"/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582473" indent="0">
              <a:buNone/>
              <a:defRPr sz="2293">
                <a:solidFill>
                  <a:srgbClr val="004379"/>
                </a:solidFill>
                <a:latin typeface="+mj-lt"/>
              </a:defRPr>
            </a:lvl2pPr>
            <a:lvl3pPr marL="1164946" indent="0">
              <a:buNone/>
              <a:defRPr sz="2038">
                <a:solidFill>
                  <a:srgbClr val="004379"/>
                </a:solidFill>
                <a:latin typeface="+mj-lt"/>
              </a:defRPr>
            </a:lvl3pPr>
            <a:lvl4pPr marL="1747418" indent="0">
              <a:buNone/>
              <a:defRPr sz="1784">
                <a:solidFill>
                  <a:srgbClr val="004379"/>
                </a:solidFill>
                <a:latin typeface="+mj-lt"/>
              </a:defRPr>
            </a:lvl4pPr>
            <a:lvl5pPr marL="2329891" indent="0">
              <a:buNone/>
              <a:defRPr sz="1784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подразделения и год</a:t>
            </a:r>
          </a:p>
        </p:txBody>
      </p:sp>
    </p:spTree>
    <p:extLst>
      <p:ext uri="{BB962C8B-B14F-4D97-AF65-F5344CB8AC3E}">
        <p14:creationId xmlns:p14="http://schemas.microsoft.com/office/powerpoint/2010/main" val="3493481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вободной информ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2" name="Текст 19"/>
          <p:cNvSpPr>
            <a:spLocks noGrp="1"/>
          </p:cNvSpPr>
          <p:nvPr>
            <p:ph type="body" sz="quarter" idx="13" hasCustomPrompt="1"/>
          </p:nvPr>
        </p:nvSpPr>
        <p:spPr>
          <a:xfrm>
            <a:off x="1528942" y="7441695"/>
            <a:ext cx="12520734" cy="68551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56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Дополнительный комментарий.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16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37930879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56">
          <p15:clr>
            <a:srgbClr val="547EBF"/>
          </p15:clr>
        </p15:guide>
        <p15:guide id="2" pos="6947">
          <p15:clr>
            <a:srgbClr val="547EBF"/>
          </p15:clr>
        </p15:guide>
        <p15:guide id="3" orient="horz" pos="867">
          <p15:clr>
            <a:srgbClr val="547EBF"/>
          </p15:clr>
        </p15:guide>
        <p15:guide id="4" orient="horz" pos="3952">
          <p15:clr>
            <a:srgbClr val="547EBF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большой диаграмм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Текст 19"/>
          <p:cNvSpPr>
            <a:spLocks noGrp="1"/>
          </p:cNvSpPr>
          <p:nvPr>
            <p:ph type="body" sz="quarter" idx="13" hasCustomPrompt="1"/>
          </p:nvPr>
        </p:nvSpPr>
        <p:spPr>
          <a:xfrm>
            <a:off x="1528942" y="7247236"/>
            <a:ext cx="12520734" cy="68551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656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Дополнительный комментарий.</a:t>
            </a:r>
          </a:p>
        </p:txBody>
      </p:sp>
      <p:sp>
        <p:nvSpPr>
          <p:cNvPr id="13" name="Диаграмма 12"/>
          <p:cNvSpPr>
            <a:spLocks noGrp="1"/>
          </p:cNvSpPr>
          <p:nvPr>
            <p:ph type="chart" sz="quarter" idx="14" hasCustomPrompt="1"/>
          </p:nvPr>
        </p:nvSpPr>
        <p:spPr>
          <a:xfrm>
            <a:off x="1528941" y="1796116"/>
            <a:ext cx="12520733" cy="5312154"/>
          </a:xfrm>
        </p:spPr>
        <p:txBody>
          <a:bodyPr tIns="864000" anchor="ctr">
            <a:normAutofit/>
          </a:bodyPr>
          <a:lstStyle>
            <a:lvl1pPr marL="0" indent="0" algn="ctr">
              <a:buNone/>
              <a:defRPr sz="2293"/>
            </a:lvl1pPr>
          </a:lstStyle>
          <a:p>
            <a:r>
              <a:rPr lang="ru-RU" dirty="0"/>
              <a:t>Вставьте диаграмму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17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13735691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сравнением двух диаграм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98" name="Диаграмма 97"/>
          <p:cNvSpPr>
            <a:spLocks noGrp="1"/>
          </p:cNvSpPr>
          <p:nvPr>
            <p:ph type="chart" sz="quarter" idx="12" hasCustomPrompt="1"/>
          </p:nvPr>
        </p:nvSpPr>
        <p:spPr>
          <a:xfrm>
            <a:off x="1513463" y="2594388"/>
            <a:ext cx="5813725" cy="5455078"/>
          </a:xfrm>
        </p:spPr>
        <p:txBody>
          <a:bodyPr tIns="828000" anchor="ctr">
            <a:normAutofit/>
          </a:bodyPr>
          <a:lstStyle>
            <a:lvl1pPr marL="0" indent="0" algn="ctr">
              <a:buNone/>
              <a:defRPr sz="2293"/>
            </a:lvl1pPr>
          </a:lstStyle>
          <a:p>
            <a:r>
              <a:rPr lang="ru-RU" dirty="0"/>
              <a:t>Вставьте диаграмму для сравнения</a:t>
            </a:r>
          </a:p>
        </p:txBody>
      </p:sp>
      <p:sp>
        <p:nvSpPr>
          <p:cNvPr id="100" name="Диаграмма 97"/>
          <p:cNvSpPr>
            <a:spLocks noGrp="1"/>
          </p:cNvSpPr>
          <p:nvPr>
            <p:ph type="chart" sz="quarter" idx="13" hasCustomPrompt="1"/>
          </p:nvPr>
        </p:nvSpPr>
        <p:spPr>
          <a:xfrm>
            <a:off x="8235950" y="2594388"/>
            <a:ext cx="5813725" cy="5455078"/>
          </a:xfrm>
        </p:spPr>
        <p:txBody>
          <a:bodyPr tIns="828000" anchor="ctr">
            <a:normAutofit/>
          </a:bodyPr>
          <a:lstStyle>
            <a:lvl1pPr marL="0" indent="0" algn="ctr">
              <a:buNone/>
              <a:defRPr sz="2293"/>
            </a:lvl1pPr>
          </a:lstStyle>
          <a:p>
            <a:r>
              <a:rPr lang="ru-RU" dirty="0"/>
              <a:t>Вставьте диаграмму для сравнения</a:t>
            </a:r>
          </a:p>
        </p:txBody>
      </p:sp>
      <p:sp>
        <p:nvSpPr>
          <p:cNvPr id="101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1513463" y="1888222"/>
            <a:ext cx="12536212" cy="506596"/>
          </a:xfrm>
        </p:spPr>
        <p:txBody>
          <a:bodyPr>
            <a:normAutofit/>
          </a:bodyPr>
          <a:lstStyle>
            <a:lvl1pPr marL="0" indent="0" algn="ctr">
              <a:buNone/>
              <a:defRPr sz="1784" baseline="0">
                <a:latin typeface="+mj-lt"/>
              </a:defRPr>
            </a:lvl1pPr>
          </a:lstStyle>
          <a:p>
            <a:pPr lvl="0"/>
            <a:r>
              <a:rPr lang="ru-RU" dirty="0"/>
              <a:t>НАИМЕНОВАНИЕ СРАВНИВАЕМЫХ ПОКАЗАТЕЛЕЙ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14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7645625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3">
          <p15:clr>
            <a:srgbClr val="547EBF"/>
          </p15:clr>
        </p15:guide>
        <p15:guide id="2" pos="6947">
          <p15:clr>
            <a:srgbClr val="547EBF"/>
          </p15:clr>
        </p15:guide>
        <p15:guide id="3" orient="horz" pos="3974">
          <p15:clr>
            <a:srgbClr val="547EBF"/>
          </p15:clr>
        </p15:guide>
        <p15:guide id="4" orient="horz" pos="867">
          <p15:clr>
            <a:srgbClr val="547EB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сравнением трех диаграм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2" y="523367"/>
            <a:ext cx="13591910" cy="510003"/>
          </a:xfrm>
        </p:spPr>
        <p:txBody>
          <a:bodyPr lIns="0" tIns="0" anchor="t">
            <a:normAutofit/>
          </a:bodyPr>
          <a:lstStyle>
            <a:lvl1pPr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Введите заголовок слайда</a:t>
            </a:r>
            <a:r>
              <a:rPr lang="en-US" dirty="0"/>
              <a:t> </a:t>
            </a:r>
            <a:r>
              <a:rPr lang="ru-RU" dirty="0"/>
              <a:t>в этом поле. 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Диаграмма 97"/>
          <p:cNvSpPr>
            <a:spLocks noGrp="1"/>
          </p:cNvSpPr>
          <p:nvPr>
            <p:ph type="chart" sz="quarter" idx="12" hasCustomPrompt="1"/>
          </p:nvPr>
        </p:nvSpPr>
        <p:spPr>
          <a:xfrm>
            <a:off x="1513464" y="3269857"/>
            <a:ext cx="4024729" cy="3776445"/>
          </a:xfrm>
        </p:spPr>
        <p:txBody>
          <a:bodyPr tIns="828000" anchor="ctr">
            <a:normAutofit/>
          </a:bodyPr>
          <a:lstStyle>
            <a:lvl1pPr marL="0" indent="0" algn="ctr">
              <a:buNone/>
              <a:defRPr sz="2293"/>
            </a:lvl1pPr>
          </a:lstStyle>
          <a:p>
            <a:r>
              <a:rPr lang="ru-RU" dirty="0"/>
              <a:t>Вставьте диаграмму для сравнения</a:t>
            </a:r>
          </a:p>
        </p:txBody>
      </p:sp>
      <p:sp>
        <p:nvSpPr>
          <p:cNvPr id="13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1513463" y="2272013"/>
            <a:ext cx="12536212" cy="506596"/>
          </a:xfrm>
        </p:spPr>
        <p:txBody>
          <a:bodyPr>
            <a:normAutofit/>
          </a:bodyPr>
          <a:lstStyle>
            <a:lvl1pPr marL="0" indent="0" algn="ctr">
              <a:buNone/>
              <a:defRPr sz="1784" baseline="0">
                <a:latin typeface="+mj-lt"/>
              </a:defRPr>
            </a:lvl1pPr>
          </a:lstStyle>
          <a:p>
            <a:pPr lvl="0"/>
            <a:r>
              <a:rPr lang="ru-RU" dirty="0"/>
              <a:t>НАИМЕНОВАНИЕ СРАВНИВАЕМЫХ ПОКАЗАТЕЛЕЙ</a:t>
            </a:r>
          </a:p>
        </p:txBody>
      </p:sp>
      <p:sp>
        <p:nvSpPr>
          <p:cNvPr id="17" name="Диаграмма 97"/>
          <p:cNvSpPr>
            <a:spLocks noGrp="1"/>
          </p:cNvSpPr>
          <p:nvPr>
            <p:ph type="chart" sz="quarter" idx="18" hasCustomPrompt="1"/>
          </p:nvPr>
        </p:nvSpPr>
        <p:spPr>
          <a:xfrm>
            <a:off x="10024947" y="3273375"/>
            <a:ext cx="4024729" cy="3776445"/>
          </a:xfrm>
        </p:spPr>
        <p:txBody>
          <a:bodyPr tIns="828000" anchor="ctr">
            <a:normAutofit/>
          </a:bodyPr>
          <a:lstStyle>
            <a:lvl1pPr marL="0" indent="0" algn="ctr">
              <a:buNone/>
              <a:defRPr sz="2293"/>
            </a:lvl1pPr>
          </a:lstStyle>
          <a:p>
            <a:r>
              <a:rPr lang="ru-RU" dirty="0"/>
              <a:t>Вставьте диаграмму для сравнения</a:t>
            </a:r>
          </a:p>
        </p:txBody>
      </p:sp>
      <p:sp>
        <p:nvSpPr>
          <p:cNvPr id="18" name="Диаграмма 97"/>
          <p:cNvSpPr>
            <a:spLocks noGrp="1"/>
          </p:cNvSpPr>
          <p:nvPr>
            <p:ph type="chart" sz="quarter" idx="19" hasCustomPrompt="1"/>
          </p:nvPr>
        </p:nvSpPr>
        <p:spPr>
          <a:xfrm>
            <a:off x="5769205" y="3273375"/>
            <a:ext cx="4024729" cy="3776445"/>
          </a:xfrm>
        </p:spPr>
        <p:txBody>
          <a:bodyPr tIns="828000" anchor="ctr">
            <a:normAutofit/>
          </a:bodyPr>
          <a:lstStyle>
            <a:lvl1pPr marL="0" indent="0" algn="ctr">
              <a:buNone/>
              <a:defRPr sz="2293"/>
            </a:lvl1pPr>
          </a:lstStyle>
          <a:p>
            <a:r>
              <a:rPr lang="ru-RU" dirty="0"/>
              <a:t>Вставьте диаграмму для сравнения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11963142" y="8169446"/>
            <a:ext cx="2254987" cy="401055"/>
          </a:xfrm>
        </p:spPr>
        <p:txBody>
          <a:bodyPr>
            <a:normAutofit/>
          </a:bodyPr>
          <a:lstStyle>
            <a:lvl1pPr marL="0" indent="0" algn="r">
              <a:buNone/>
              <a:defRPr sz="1401"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  <p:sp>
        <p:nvSpPr>
          <p:cNvPr id="19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520609" y="1043883"/>
            <a:ext cx="13584763" cy="37949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911" baseline="0">
                <a:latin typeface="Stem Thin" panose="020B0303020203020204" pitchFamily="34" charset="-52"/>
                <a:ea typeface="Stem Thin" panose="020B0303020203020204" pitchFamily="34" charset="-52"/>
              </a:defRPr>
            </a:lvl1pPr>
            <a:lvl2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2pPr>
            <a:lvl3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3pPr>
            <a:lvl4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4pPr>
            <a:lvl5pPr>
              <a:defRPr sz="2038">
                <a:latin typeface="Stem Thin" panose="020B0303020203020204" pitchFamily="34" charset="-52"/>
                <a:ea typeface="Stem Thin" panose="020B0303020203020204" pitchFamily="34" charset="-52"/>
              </a:defRPr>
            </a:lvl5pPr>
          </a:lstStyle>
          <a:p>
            <a:pPr lvl="0"/>
            <a:r>
              <a:rPr lang="ru-RU" dirty="0"/>
              <a:t>Введите комментарий или описание слайда.</a:t>
            </a:r>
          </a:p>
        </p:txBody>
      </p:sp>
    </p:spTree>
    <p:extLst>
      <p:ext uri="{BB962C8B-B14F-4D97-AF65-F5344CB8AC3E}">
        <p14:creationId xmlns:p14="http://schemas.microsoft.com/office/powerpoint/2010/main" val="3799717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3">
          <p15:clr>
            <a:srgbClr val="547EBF"/>
          </p15:clr>
        </p15:guide>
        <p15:guide id="2" pos="6947">
          <p15:clr>
            <a:srgbClr val="547EBF"/>
          </p15:clr>
        </p15:guide>
        <p15:guide id="3" orient="horz" pos="935">
          <p15:clr>
            <a:srgbClr val="547EBF"/>
          </p15:clr>
        </p15:guide>
        <p15:guide id="4" orient="horz" pos="3884">
          <p15:clr>
            <a:srgbClr val="547EB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itle</a:t>
            </a:r>
            <a:endParaRPr lang="en-US"/>
          </a:p>
        </p:txBody>
      </p:sp>
      <p:sp>
        <p:nvSpPr>
          <p:cNvPr id="3" name="Tex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525B2-4347-4F72-BAF7-76B19438D329}" type="datetimeFigureOut">
              <a:rPr lang="en-US" smtClean="0"/>
              <a:t>8/8/2022</a:t>
            </a:fld>
            <a:endParaRPr lang="en-US"/>
          </a:p>
        </p:txBody>
      </p:sp>
      <p:sp>
        <p:nvSpPr>
          <p:cNvPr id="5" name="Foo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073CC-40D5-4B23-8DF0-9BD0A0C12F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4555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B80884-48C9-4EEA-8E67-D39EBB8763FE}" type="datetimeFigureOut">
              <a:rPr lang="ru-RU" smtClean="0"/>
              <a:t>08.08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7A611-A86E-4E96-A9DF-5D9D22F7BE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22561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пово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"/>
          <p:cNvSpPr>
            <a:spLocks noChangeArrowheads="1"/>
          </p:cNvSpPr>
          <p:nvPr userDrawn="1"/>
        </p:nvSpPr>
        <p:spPr bwMode="auto">
          <a:xfrm>
            <a:off x="1" y="8245945"/>
            <a:ext cx="15532100" cy="504357"/>
          </a:xfrm>
          <a:prstGeom prst="rect">
            <a:avLst/>
          </a:prstGeom>
          <a:solidFill>
            <a:srgbClr val="00447C"/>
          </a:solidFill>
          <a:ln w="9525">
            <a:solidFill>
              <a:srgbClr val="00447C"/>
            </a:solidFill>
            <a:miter lim="800000"/>
            <a:headEnd/>
            <a:tailEnd/>
          </a:ln>
        </p:spPr>
        <p:txBody>
          <a:bodyPr lIns="121852" tIns="60926" rIns="121852" bIns="60926" anchor="ctr"/>
          <a:lstStyle/>
          <a:p>
            <a:pPr algn="ctr" defTabSz="1219433"/>
            <a:endParaRPr lang="ru-RU" sz="5606" dirty="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" name="Rectangle 14"/>
          <p:cNvSpPr>
            <a:spLocks noChangeArrowheads="1"/>
          </p:cNvSpPr>
          <p:nvPr userDrawn="1"/>
        </p:nvSpPr>
        <p:spPr bwMode="auto">
          <a:xfrm>
            <a:off x="14827413" y="8266202"/>
            <a:ext cx="465732" cy="413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60489" tIns="105465" rIns="22927" bIns="59610">
            <a:spAutoFit/>
          </a:bodyPr>
          <a:lstStyle/>
          <a:p>
            <a:pPr algn="r" defTabSz="1021286">
              <a:lnSpc>
                <a:spcPct val="90000"/>
              </a:lnSpc>
              <a:spcAft>
                <a:spcPct val="10000"/>
              </a:spcAft>
            </a:pPr>
            <a:fld id="{D6100D57-A193-4185-A83C-A6E56A3FFF11}" type="slidenum">
              <a:rPr lang="ru-RU" sz="1784" b="1" smtClean="0">
                <a:solidFill>
                  <a:srgbClr val="FFFFFF"/>
                </a:solidFill>
                <a:latin typeface="Arial" pitchFamily="34" charset="0"/>
                <a:cs typeface="Tahoma" pitchFamily="34" charset="0"/>
              </a:rPr>
              <a:pPr algn="r" defTabSz="1021286">
                <a:lnSpc>
                  <a:spcPct val="90000"/>
                </a:lnSpc>
                <a:spcAft>
                  <a:spcPct val="10000"/>
                </a:spcAft>
              </a:pPr>
              <a:t>‹#›</a:t>
            </a:fld>
            <a:endParaRPr lang="ru-RU" sz="1784" b="1" dirty="0" smtClean="0">
              <a:solidFill>
                <a:srgbClr val="FFFFFF"/>
              </a:solidFill>
              <a:latin typeface="Arial" pitchFamily="34" charset="0"/>
              <a:cs typeface="Tahoma" pitchFamily="34" charset="0"/>
            </a:endParaRPr>
          </a:p>
        </p:txBody>
      </p:sp>
      <p:sp>
        <p:nvSpPr>
          <p:cNvPr id="5" name="Line 15"/>
          <p:cNvSpPr>
            <a:spLocks noChangeShapeType="1"/>
          </p:cNvSpPr>
          <p:nvPr userDrawn="1"/>
        </p:nvSpPr>
        <p:spPr bwMode="auto">
          <a:xfrm>
            <a:off x="1" y="791984"/>
            <a:ext cx="15532100" cy="0"/>
          </a:xfrm>
          <a:prstGeom prst="line">
            <a:avLst/>
          </a:prstGeom>
          <a:noFill/>
          <a:ln w="28575">
            <a:solidFill>
              <a:srgbClr val="00416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60489" tIns="105465" rIns="22927" bIns="59610"/>
          <a:lstStyle/>
          <a:p>
            <a:endParaRPr lang="ru-RU" sz="1784" b="1" dirty="0" smtClean="0">
              <a:solidFill>
                <a:srgbClr val="003366"/>
              </a:solidFill>
              <a:latin typeface="Arial" pitchFamily="34" charset="0"/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076676" y="281788"/>
            <a:ext cx="14456512" cy="459333"/>
          </a:xfrm>
          <a:prstGeom prst="rect">
            <a:avLst/>
          </a:prstGeom>
        </p:spPr>
        <p:txBody>
          <a:bodyPr lIns="91434" tIns="45718" rIns="91434" bIns="45718"/>
          <a:lstStyle>
            <a:lvl1pPr algn="l">
              <a:defRPr sz="2548" b="1">
                <a:solidFill>
                  <a:srgbClr val="004162"/>
                </a:solidFill>
                <a:latin typeface="+mj-lt"/>
                <a:cs typeface="Tahoma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694213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232356" y="5652512"/>
            <a:ext cx="8538489" cy="1657955"/>
          </a:xfrm>
          <a:prstGeom prst="rect">
            <a:avLst/>
          </a:prstGeom>
          <a:solidFill>
            <a:srgbClr val="006A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/>
          </a:p>
        </p:txBody>
      </p:sp>
      <p:sp>
        <p:nvSpPr>
          <p:cNvPr id="10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466922" y="5890503"/>
            <a:ext cx="8154353" cy="1186492"/>
          </a:xfrm>
          <a:noFill/>
        </p:spPr>
        <p:txBody>
          <a:bodyPr tIns="0" bIns="0" anchor="t">
            <a:normAutofit/>
          </a:bodyPr>
          <a:lstStyle>
            <a:lvl1pPr marL="0" indent="0" algn="l">
              <a:buNone/>
              <a:defRPr sz="2803" b="0" i="0" baseline="0">
                <a:solidFill>
                  <a:schemeClr val="bg1"/>
                </a:solidFill>
                <a:latin typeface="Stem Medium" panose="020B0603020203020204" pitchFamily="34" charset="0"/>
                <a:ea typeface="Stem Medium" panose="020B0603020203020204" pitchFamily="34" charset="0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ДЛИННОГО НАЗВАНИЯ ПРЕЗЕНТАЦИИ 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16" hasCustomPrompt="1"/>
          </p:nvPr>
        </p:nvSpPr>
        <p:spPr>
          <a:xfrm>
            <a:off x="1466922" y="7454160"/>
            <a:ext cx="7771992" cy="472090"/>
          </a:xfrm>
        </p:spPr>
        <p:txBody>
          <a:bodyPr tIns="0" bIns="0" anchor="t">
            <a:noAutofit/>
          </a:bodyPr>
          <a:lstStyle>
            <a:lvl1pPr marL="0" indent="0" algn="l">
              <a:buNone/>
              <a:defRPr sz="1529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582473" indent="0">
              <a:buNone/>
              <a:defRPr sz="2293">
                <a:solidFill>
                  <a:srgbClr val="004379"/>
                </a:solidFill>
                <a:latin typeface="+mj-lt"/>
              </a:defRPr>
            </a:lvl2pPr>
            <a:lvl3pPr marL="1164946" indent="0">
              <a:buNone/>
              <a:defRPr sz="2038">
                <a:solidFill>
                  <a:srgbClr val="004379"/>
                </a:solidFill>
                <a:latin typeface="+mj-lt"/>
              </a:defRPr>
            </a:lvl3pPr>
            <a:lvl4pPr marL="1747418" indent="0">
              <a:buNone/>
              <a:defRPr sz="1784">
                <a:solidFill>
                  <a:srgbClr val="004379"/>
                </a:solidFill>
                <a:latin typeface="+mj-lt"/>
              </a:defRPr>
            </a:lvl4pPr>
            <a:lvl5pPr marL="2329891" indent="0">
              <a:buNone/>
              <a:defRPr sz="1784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СОПРОВОДИТЕЛЬНЫЙ КОММЕНТАРИЙ ПО ТЕМЕ </a:t>
            </a:r>
          </a:p>
        </p:txBody>
      </p:sp>
      <p:sp>
        <p:nvSpPr>
          <p:cNvPr id="12" name="Текст 20"/>
          <p:cNvSpPr>
            <a:spLocks noGrp="1"/>
          </p:cNvSpPr>
          <p:nvPr>
            <p:ph type="body" sz="quarter" idx="12" hasCustomPrompt="1"/>
          </p:nvPr>
        </p:nvSpPr>
        <p:spPr>
          <a:xfrm>
            <a:off x="1466923" y="7945322"/>
            <a:ext cx="7784126" cy="332964"/>
          </a:xfrm>
        </p:spPr>
        <p:txBody>
          <a:bodyPr tIns="0" bIns="0" anchor="t">
            <a:noAutofit/>
          </a:bodyPr>
          <a:lstStyle>
            <a:lvl1pPr marL="0" indent="0" algn="l">
              <a:buNone/>
              <a:defRPr sz="1529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582473" indent="0">
              <a:buNone/>
              <a:defRPr sz="2293">
                <a:solidFill>
                  <a:srgbClr val="004379"/>
                </a:solidFill>
                <a:latin typeface="+mj-lt"/>
              </a:defRPr>
            </a:lvl2pPr>
            <a:lvl3pPr marL="1164946" indent="0">
              <a:buNone/>
              <a:defRPr sz="2038">
                <a:solidFill>
                  <a:srgbClr val="004379"/>
                </a:solidFill>
                <a:latin typeface="+mj-lt"/>
              </a:defRPr>
            </a:lvl3pPr>
            <a:lvl4pPr marL="1747418" indent="0">
              <a:buNone/>
              <a:defRPr sz="1784">
                <a:solidFill>
                  <a:srgbClr val="004379"/>
                </a:solidFill>
                <a:latin typeface="+mj-lt"/>
              </a:defRPr>
            </a:lvl4pPr>
            <a:lvl5pPr marL="2329891" indent="0">
              <a:buNone/>
              <a:defRPr sz="1784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ДЕПАРТАМЕНТА ИЛИ ПОДРАЗДЕЛЕНИЯ</a:t>
            </a:r>
            <a:r>
              <a:rPr lang="en-US" dirty="0"/>
              <a:t> </a:t>
            </a:r>
            <a:r>
              <a:rPr lang="ru-RU" dirty="0"/>
              <a:t>И ГОД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15532100" cy="6159124"/>
          </a:xfrm>
          <a:custGeom>
            <a:avLst/>
            <a:gdLst>
              <a:gd name="connsiteX0" fmla="*/ 0 w 12192000"/>
              <a:gd name="connsiteY0" fmla="*/ 0 h 4827180"/>
              <a:gd name="connsiteX1" fmla="*/ 12192000 w 12192000"/>
              <a:gd name="connsiteY1" fmla="*/ 0 h 4827180"/>
              <a:gd name="connsiteX2" fmla="*/ 12192000 w 12192000"/>
              <a:gd name="connsiteY2" fmla="*/ 4827180 h 4827180"/>
              <a:gd name="connsiteX3" fmla="*/ 7669674 w 12192000"/>
              <a:gd name="connsiteY3" fmla="*/ 4827180 h 4827180"/>
              <a:gd name="connsiteX4" fmla="*/ 7669674 w 12192000"/>
              <a:gd name="connsiteY4" fmla="*/ 4431894 h 4827180"/>
              <a:gd name="connsiteX5" fmla="*/ 967343 w 12192000"/>
              <a:gd name="connsiteY5" fmla="*/ 4431894 h 4827180"/>
              <a:gd name="connsiteX6" fmla="*/ 967343 w 12192000"/>
              <a:gd name="connsiteY6" fmla="*/ 4827180 h 4827180"/>
              <a:gd name="connsiteX7" fmla="*/ 0 w 12192000"/>
              <a:gd name="connsiteY7" fmla="*/ 4827180 h 4827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827180">
                <a:moveTo>
                  <a:pt x="0" y="0"/>
                </a:moveTo>
                <a:lnTo>
                  <a:pt x="12192000" y="0"/>
                </a:lnTo>
                <a:lnTo>
                  <a:pt x="12192000" y="4827180"/>
                </a:lnTo>
                <a:lnTo>
                  <a:pt x="7669674" y="4827180"/>
                </a:lnTo>
                <a:lnTo>
                  <a:pt x="7669674" y="4431894"/>
                </a:lnTo>
                <a:lnTo>
                  <a:pt x="967343" y="4431894"/>
                </a:lnTo>
                <a:lnTo>
                  <a:pt x="967343" y="4827180"/>
                </a:lnTo>
                <a:lnTo>
                  <a:pt x="0" y="4827180"/>
                </a:lnTo>
                <a:close/>
              </a:path>
            </a:pathLst>
          </a:custGeom>
        </p:spPr>
        <p:txBody>
          <a:bodyPr wrap="square" tIns="792000" anchor="ctr">
            <a:noAutofit/>
          </a:bodyPr>
          <a:lstStyle>
            <a:lvl1pPr marL="0" indent="0" algn="ctr">
              <a:buNone/>
              <a:defRPr sz="2038"/>
            </a:lvl1pPr>
          </a:lstStyle>
          <a:p>
            <a:r>
              <a:rPr lang="ru-RU" dirty="0"/>
              <a:t>Вставьте тематическое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0988134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2561" y="813227"/>
            <a:ext cx="2849585" cy="60328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46" t="-6412" b="-13239"/>
          <a:stretch>
            <a:fillRect/>
          </a:stretch>
        </p:blipFill>
        <p:spPr>
          <a:xfrm>
            <a:off x="-3191361" y="243064"/>
            <a:ext cx="8688268" cy="8677381"/>
          </a:xfrm>
          <a:custGeom>
            <a:avLst/>
            <a:gdLst>
              <a:gd name="connsiteX0" fmla="*/ 2505075 w 6819900"/>
              <a:gd name="connsiteY0" fmla="*/ 364476 h 6800850"/>
              <a:gd name="connsiteX1" fmla="*/ 6819900 w 6819900"/>
              <a:gd name="connsiteY1" fmla="*/ 364476 h 6800850"/>
              <a:gd name="connsiteX2" fmla="*/ 6819900 w 6819900"/>
              <a:gd name="connsiteY2" fmla="*/ 6048376 h 6800850"/>
              <a:gd name="connsiteX3" fmla="*/ 2505075 w 6819900"/>
              <a:gd name="connsiteY3" fmla="*/ 6048376 h 6800850"/>
              <a:gd name="connsiteX4" fmla="*/ 0 w 6819900"/>
              <a:gd name="connsiteY4" fmla="*/ 0 h 6800850"/>
              <a:gd name="connsiteX5" fmla="*/ 2505075 w 6819900"/>
              <a:gd name="connsiteY5" fmla="*/ 0 h 6800850"/>
              <a:gd name="connsiteX6" fmla="*/ 2505075 w 6819900"/>
              <a:gd name="connsiteY6" fmla="*/ 364476 h 6800850"/>
              <a:gd name="connsiteX7" fmla="*/ 97224 w 6819900"/>
              <a:gd name="connsiteY7" fmla="*/ 364476 h 6800850"/>
              <a:gd name="connsiteX8" fmla="*/ 97224 w 6819900"/>
              <a:gd name="connsiteY8" fmla="*/ 6048376 h 6800850"/>
              <a:gd name="connsiteX9" fmla="*/ 2505075 w 6819900"/>
              <a:gd name="connsiteY9" fmla="*/ 6048376 h 6800850"/>
              <a:gd name="connsiteX10" fmla="*/ 2505075 w 6819900"/>
              <a:gd name="connsiteY10" fmla="*/ 6800850 h 6800850"/>
              <a:gd name="connsiteX11" fmla="*/ 0 w 6819900"/>
              <a:gd name="connsiteY11" fmla="*/ 6800850 h 6800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819900" h="6800850">
                <a:moveTo>
                  <a:pt x="2505075" y="364476"/>
                </a:moveTo>
                <a:lnTo>
                  <a:pt x="6819900" y="364476"/>
                </a:lnTo>
                <a:lnTo>
                  <a:pt x="6819900" y="6048376"/>
                </a:lnTo>
                <a:lnTo>
                  <a:pt x="2505075" y="6048376"/>
                </a:lnTo>
                <a:close/>
                <a:moveTo>
                  <a:pt x="0" y="0"/>
                </a:moveTo>
                <a:lnTo>
                  <a:pt x="2505075" y="0"/>
                </a:lnTo>
                <a:lnTo>
                  <a:pt x="2505075" y="364476"/>
                </a:lnTo>
                <a:lnTo>
                  <a:pt x="97224" y="364476"/>
                </a:lnTo>
                <a:lnTo>
                  <a:pt x="97224" y="6048376"/>
                </a:lnTo>
                <a:lnTo>
                  <a:pt x="2505075" y="6048376"/>
                </a:lnTo>
                <a:lnTo>
                  <a:pt x="2505075" y="6800850"/>
                </a:lnTo>
                <a:lnTo>
                  <a:pt x="0" y="6800850"/>
                </a:lnTo>
                <a:close/>
              </a:path>
            </a:pathLst>
          </a:custGeom>
        </p:spPr>
      </p:pic>
      <p:sp>
        <p:nvSpPr>
          <p:cNvPr id="10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6123865" y="3607142"/>
            <a:ext cx="7834802" cy="1130247"/>
          </a:xfrm>
          <a:noFill/>
        </p:spPr>
        <p:txBody>
          <a:bodyPr tIns="0" bIns="0" anchor="t">
            <a:normAutofit/>
          </a:bodyPr>
          <a:lstStyle>
            <a:lvl1pPr marL="0" indent="0">
              <a:buNone/>
              <a:defRPr sz="2803" b="0" i="0" baseline="0">
                <a:solidFill>
                  <a:srgbClr val="006CB4"/>
                </a:solidFill>
                <a:latin typeface="Stem Medium" panose="020B0603020203020204" pitchFamily="34" charset="0"/>
                <a:ea typeface="Stem Medium" panose="020B0603020203020204" pitchFamily="34" charset="0"/>
              </a:defRPr>
            </a:lvl1pPr>
            <a:lvl2pPr marL="582473" indent="0">
              <a:buNone/>
              <a:defRPr>
                <a:solidFill>
                  <a:schemeClr val="tx1"/>
                </a:solidFill>
                <a:latin typeface="+mj-lt"/>
              </a:defRPr>
            </a:lvl2pPr>
            <a:lvl3pPr marL="1164946" indent="0">
              <a:buNone/>
              <a:defRPr>
                <a:solidFill>
                  <a:schemeClr val="tx1"/>
                </a:solidFill>
                <a:latin typeface="+mj-lt"/>
              </a:defRPr>
            </a:lvl3pPr>
            <a:lvl4pPr marL="1747418" indent="0">
              <a:buNone/>
              <a:defRPr>
                <a:solidFill>
                  <a:schemeClr val="tx1"/>
                </a:solidFill>
                <a:latin typeface="+mj-lt"/>
              </a:defRPr>
            </a:lvl4pPr>
            <a:lvl5pPr marL="2329891" indent="0">
              <a:buNone/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ДЛИННОГО НАЗВАНИЯ ПРЕЗЕНТАЦИИ </a:t>
            </a:r>
          </a:p>
        </p:txBody>
      </p:sp>
      <p:sp>
        <p:nvSpPr>
          <p:cNvPr id="12" name="Текст 20"/>
          <p:cNvSpPr>
            <a:spLocks noGrp="1"/>
          </p:cNvSpPr>
          <p:nvPr>
            <p:ph type="body" sz="quarter" idx="16" hasCustomPrompt="1"/>
          </p:nvPr>
        </p:nvSpPr>
        <p:spPr>
          <a:xfrm>
            <a:off x="6123864" y="4931696"/>
            <a:ext cx="7771992" cy="472090"/>
          </a:xfrm>
        </p:spPr>
        <p:txBody>
          <a:bodyPr tIns="0" bIns="0" anchor="t">
            <a:noAutofit/>
          </a:bodyPr>
          <a:lstStyle>
            <a:lvl1pPr marL="0" indent="0" algn="l">
              <a:buNone/>
              <a:defRPr sz="140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582473" indent="0">
              <a:buNone/>
              <a:defRPr sz="2293">
                <a:solidFill>
                  <a:srgbClr val="004379"/>
                </a:solidFill>
                <a:latin typeface="+mj-lt"/>
              </a:defRPr>
            </a:lvl2pPr>
            <a:lvl3pPr marL="1164946" indent="0">
              <a:buNone/>
              <a:defRPr sz="2038">
                <a:solidFill>
                  <a:srgbClr val="004379"/>
                </a:solidFill>
                <a:latin typeface="+mj-lt"/>
              </a:defRPr>
            </a:lvl3pPr>
            <a:lvl4pPr marL="1747418" indent="0">
              <a:buNone/>
              <a:defRPr sz="1784">
                <a:solidFill>
                  <a:srgbClr val="004379"/>
                </a:solidFill>
                <a:latin typeface="+mj-lt"/>
              </a:defRPr>
            </a:lvl4pPr>
            <a:lvl5pPr marL="2329891" indent="0">
              <a:buNone/>
              <a:defRPr sz="1784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СОПРОВОДИТЕЛЬНЫЙ КОММЕНТАРИЙ ПО ТЕМЕ </a:t>
            </a:r>
          </a:p>
        </p:txBody>
      </p:sp>
      <p:sp>
        <p:nvSpPr>
          <p:cNvPr id="13" name="Текст 20"/>
          <p:cNvSpPr>
            <a:spLocks noGrp="1"/>
          </p:cNvSpPr>
          <p:nvPr>
            <p:ph type="body" sz="quarter" idx="12" hasCustomPrompt="1"/>
          </p:nvPr>
        </p:nvSpPr>
        <p:spPr>
          <a:xfrm>
            <a:off x="6111730" y="7967968"/>
            <a:ext cx="7784126" cy="332964"/>
          </a:xfrm>
        </p:spPr>
        <p:txBody>
          <a:bodyPr tIns="0" bIns="0" anchor="t">
            <a:noAutofit/>
          </a:bodyPr>
          <a:lstStyle>
            <a:lvl1pPr marL="0" indent="0" algn="l">
              <a:buNone/>
              <a:defRPr sz="140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Stem Thin" panose="020B0303020203020204" pitchFamily="34" charset="0"/>
                <a:ea typeface="Stem Thin" panose="020B0303020203020204" pitchFamily="34" charset="0"/>
              </a:defRPr>
            </a:lvl1pPr>
            <a:lvl2pPr marL="582473" indent="0">
              <a:buNone/>
              <a:defRPr sz="2293">
                <a:solidFill>
                  <a:srgbClr val="004379"/>
                </a:solidFill>
                <a:latin typeface="+mj-lt"/>
              </a:defRPr>
            </a:lvl2pPr>
            <a:lvl3pPr marL="1164946" indent="0">
              <a:buNone/>
              <a:defRPr sz="2038">
                <a:solidFill>
                  <a:srgbClr val="004379"/>
                </a:solidFill>
                <a:latin typeface="+mj-lt"/>
              </a:defRPr>
            </a:lvl3pPr>
            <a:lvl4pPr marL="1747418" indent="0">
              <a:buNone/>
              <a:defRPr sz="1784">
                <a:solidFill>
                  <a:srgbClr val="004379"/>
                </a:solidFill>
                <a:latin typeface="+mj-lt"/>
              </a:defRPr>
            </a:lvl4pPr>
            <a:lvl5pPr marL="2329891" indent="0">
              <a:buNone/>
              <a:defRPr sz="1784">
                <a:solidFill>
                  <a:srgbClr val="004379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ДЕПАРТАМЕНТА ИЛИ ПОДРАЗДЕЛЕНИЯ</a:t>
            </a:r>
            <a:r>
              <a:rPr lang="en-US" dirty="0"/>
              <a:t> </a:t>
            </a:r>
            <a:r>
              <a:rPr lang="ru-RU" dirty="0"/>
              <a:t>И ГОД</a:t>
            </a:r>
          </a:p>
        </p:txBody>
      </p:sp>
    </p:spTree>
    <p:extLst>
      <p:ext uri="{BB962C8B-B14F-4D97-AF65-F5344CB8AC3E}">
        <p14:creationId xmlns:p14="http://schemas.microsoft.com/office/powerpoint/2010/main" val="24157777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(Содержание 2 раздел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3" y="523366"/>
            <a:ext cx="12489696" cy="657060"/>
          </a:xfrm>
        </p:spPr>
        <p:txBody>
          <a:bodyPr lIns="0" tIns="0" anchor="t">
            <a:normAutofit/>
          </a:bodyPr>
          <a:lstStyle>
            <a:lvl1pPr algn="ctr">
              <a:defRPr sz="2930" b="0" baseline="0">
                <a:latin typeface="+mj-lt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Содержание: </a:t>
            </a:r>
            <a:r>
              <a:rPr lang="en-US" dirty="0"/>
              <a:t>2</a:t>
            </a:r>
            <a:r>
              <a:rPr lang="ru-RU" dirty="0"/>
              <a:t> раздела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2" name="Текст 16"/>
          <p:cNvSpPr>
            <a:spLocks noGrp="1"/>
          </p:cNvSpPr>
          <p:nvPr>
            <p:ph type="body" sz="quarter" idx="11" hasCustomPrompt="1"/>
          </p:nvPr>
        </p:nvSpPr>
        <p:spPr>
          <a:xfrm>
            <a:off x="2309942" y="4739745"/>
            <a:ext cx="4129759" cy="534742"/>
          </a:xfrm>
        </p:spPr>
        <p:txBody>
          <a:bodyPr anchor="t">
            <a:normAutofit/>
          </a:bodyPr>
          <a:lstStyle>
            <a:lvl1pPr marL="0" indent="0" algn="ctr">
              <a:buNone/>
              <a:defRPr sz="1911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1</a:t>
            </a:r>
          </a:p>
        </p:txBody>
      </p:sp>
      <p:sp>
        <p:nvSpPr>
          <p:cNvPr id="17" name="Текст 23"/>
          <p:cNvSpPr>
            <a:spLocks noGrp="1"/>
          </p:cNvSpPr>
          <p:nvPr>
            <p:ph type="body" sz="quarter" idx="13" hasCustomPrompt="1"/>
          </p:nvPr>
        </p:nvSpPr>
        <p:spPr>
          <a:xfrm>
            <a:off x="2309941" y="5286639"/>
            <a:ext cx="4129760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1</a:t>
            </a:r>
          </a:p>
        </p:txBody>
      </p:sp>
      <p:sp>
        <p:nvSpPr>
          <p:cNvPr id="39" name="Текст 16"/>
          <p:cNvSpPr>
            <a:spLocks noGrp="1"/>
          </p:cNvSpPr>
          <p:nvPr>
            <p:ph type="body" sz="quarter" idx="14" hasCustomPrompt="1"/>
          </p:nvPr>
        </p:nvSpPr>
        <p:spPr>
          <a:xfrm>
            <a:off x="9088651" y="4739745"/>
            <a:ext cx="4129759" cy="534742"/>
          </a:xfrm>
        </p:spPr>
        <p:txBody>
          <a:bodyPr anchor="t">
            <a:normAutofit/>
          </a:bodyPr>
          <a:lstStyle>
            <a:lvl1pPr marL="0" indent="0" algn="ctr">
              <a:buNone/>
              <a:defRPr sz="1911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1</a:t>
            </a:r>
          </a:p>
        </p:txBody>
      </p:sp>
      <p:sp>
        <p:nvSpPr>
          <p:cNvPr id="41" name="Текст 23"/>
          <p:cNvSpPr>
            <a:spLocks noGrp="1"/>
          </p:cNvSpPr>
          <p:nvPr>
            <p:ph type="body" sz="quarter" idx="15" hasCustomPrompt="1"/>
          </p:nvPr>
        </p:nvSpPr>
        <p:spPr>
          <a:xfrm>
            <a:off x="9088652" y="5286639"/>
            <a:ext cx="4129758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1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7766050" y="2819541"/>
            <a:ext cx="0" cy="3759388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0108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822">
          <p15:clr>
            <a:srgbClr val="547EBF"/>
          </p15:clr>
        </p15:guide>
        <p15:guide id="3" orient="horz" pos="3838">
          <p15:clr>
            <a:srgbClr val="547EBF"/>
          </p15:clr>
        </p15:guide>
        <p15:guide id="4" orient="horz" pos="1661">
          <p15:clr>
            <a:srgbClr val="FBAE40"/>
          </p15:clr>
        </p15:guide>
        <p15:guide id="5" pos="5360">
          <p15:clr>
            <a:srgbClr val="FBAE40"/>
          </p15:clr>
        </p15:guide>
        <p15:guide id="6" pos="5654">
          <p15:clr>
            <a:srgbClr val="FBAE40"/>
          </p15:clr>
        </p15:guide>
        <p15:guide id="7" orient="horz" pos="2001">
          <p15:clr>
            <a:srgbClr val="FBAE40"/>
          </p15:clr>
        </p15:guide>
        <p15:guide id="8" pos="2343">
          <p15:clr>
            <a:srgbClr val="FBAE40"/>
          </p15:clr>
        </p15:guide>
        <p15:guide id="9" pos="200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(Содержание 3 раздел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3" y="523366"/>
            <a:ext cx="12489696" cy="657060"/>
          </a:xfrm>
        </p:spPr>
        <p:txBody>
          <a:bodyPr lIns="0" tIns="0" anchor="t">
            <a:normAutofit/>
          </a:bodyPr>
          <a:lstStyle>
            <a:lvl1pPr algn="ctr"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Содержание: 3 раздела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0" hasCustomPrompt="1"/>
          </p:nvPr>
        </p:nvSpPr>
        <p:spPr>
          <a:xfrm>
            <a:off x="5701172" y="4180699"/>
            <a:ext cx="4129759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911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2</a:t>
            </a:r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1" hasCustomPrompt="1"/>
          </p:nvPr>
        </p:nvSpPr>
        <p:spPr>
          <a:xfrm>
            <a:off x="1541076" y="4180698"/>
            <a:ext cx="4129759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911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1</a:t>
            </a:r>
          </a:p>
        </p:txBody>
      </p:sp>
      <p:sp>
        <p:nvSpPr>
          <p:cNvPr id="19" name="Текст 16"/>
          <p:cNvSpPr>
            <a:spLocks noGrp="1"/>
          </p:cNvSpPr>
          <p:nvPr>
            <p:ph type="body" sz="quarter" idx="12" hasCustomPrompt="1"/>
          </p:nvPr>
        </p:nvSpPr>
        <p:spPr>
          <a:xfrm>
            <a:off x="9874156" y="4180698"/>
            <a:ext cx="4129759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911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3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3" hasCustomPrompt="1"/>
          </p:nvPr>
        </p:nvSpPr>
        <p:spPr>
          <a:xfrm>
            <a:off x="1528942" y="4873430"/>
            <a:ext cx="4172230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1</a:t>
            </a:r>
          </a:p>
        </p:txBody>
      </p:sp>
      <p:sp>
        <p:nvSpPr>
          <p:cNvPr id="25" name="Текст 23"/>
          <p:cNvSpPr>
            <a:spLocks noGrp="1"/>
          </p:cNvSpPr>
          <p:nvPr>
            <p:ph type="body" sz="quarter" idx="14" hasCustomPrompt="1"/>
          </p:nvPr>
        </p:nvSpPr>
        <p:spPr>
          <a:xfrm>
            <a:off x="5690250" y="4873430"/>
            <a:ext cx="4172230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2</a:t>
            </a:r>
          </a:p>
        </p:txBody>
      </p:sp>
      <p:sp>
        <p:nvSpPr>
          <p:cNvPr id="26" name="Текст 23"/>
          <p:cNvSpPr>
            <a:spLocks noGrp="1"/>
          </p:cNvSpPr>
          <p:nvPr>
            <p:ph type="body" sz="quarter" idx="15" hasCustomPrompt="1"/>
          </p:nvPr>
        </p:nvSpPr>
        <p:spPr>
          <a:xfrm>
            <a:off x="9830929" y="4873430"/>
            <a:ext cx="4172230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3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5701171" y="2912714"/>
            <a:ext cx="0" cy="3759388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9830930" y="2904614"/>
            <a:ext cx="0" cy="3759388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57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56">
          <p15:clr>
            <a:srgbClr val="547EBF"/>
          </p15:clr>
        </p15:guide>
        <p15:guide id="2" pos="6924">
          <p15:clr>
            <a:srgbClr val="547EBF"/>
          </p15:clr>
        </p15:guide>
        <p15:guide id="4" orient="horz" pos="1026">
          <p15:clr>
            <a:srgbClr val="547EBF"/>
          </p15:clr>
        </p15:guide>
        <p15:guide id="5" orient="horz" pos="3702">
          <p15:clr>
            <a:srgbClr val="547EBF"/>
          </p15:clr>
        </p15:guide>
        <p15:guide id="6" pos="1617">
          <p15:clr>
            <a:srgbClr val="FBAE40"/>
          </p15:clr>
        </p15:guide>
        <p15:guide id="7" pos="1935">
          <p15:clr>
            <a:srgbClr val="FBAE40"/>
          </p15:clr>
        </p15:guide>
        <p15:guide id="8" pos="3659">
          <p15:clr>
            <a:srgbClr val="FBAE40"/>
          </p15:clr>
        </p15:guide>
        <p15:guide id="9" pos="3999">
          <p15:clr>
            <a:srgbClr val="FBAE40"/>
          </p15:clr>
        </p15:guide>
        <p15:guide id="10" pos="5722">
          <p15:clr>
            <a:srgbClr val="FBAE40"/>
          </p15:clr>
        </p15:guide>
        <p15:guide id="11" pos="6063">
          <p15:clr>
            <a:srgbClr val="FBAE40"/>
          </p15:clr>
        </p15:guide>
        <p15:guide id="12" orient="horz" pos="1593">
          <p15:clr>
            <a:srgbClr val="FBAE40"/>
          </p15:clr>
        </p15:guide>
        <p15:guide id="13" orient="horz" pos="193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(Содержание 4 разделов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1513463" y="523366"/>
            <a:ext cx="12489696" cy="657060"/>
          </a:xfrm>
        </p:spPr>
        <p:txBody>
          <a:bodyPr lIns="0" tIns="0" anchor="t">
            <a:normAutofit/>
          </a:bodyPr>
          <a:lstStyle>
            <a:lvl1pPr algn="ctr">
              <a:defRPr sz="2930" baseline="0">
                <a:latin typeface="Stem Medium" panose="020B0603020203020204" pitchFamily="34" charset="-52"/>
                <a:ea typeface="Stem Medium" panose="020B0603020203020204" pitchFamily="34" charset="-52"/>
              </a:defRPr>
            </a:lvl1pPr>
          </a:lstStyle>
          <a:p>
            <a:r>
              <a:rPr lang="ru-RU" dirty="0"/>
              <a:t>Содержание: 4 раздела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ctr">
              <a:defRPr sz="1784">
                <a:solidFill>
                  <a:schemeClr val="tx1"/>
                </a:solidFill>
                <a:latin typeface="DINPro-Medium" panose="02000503030000020004" pitchFamily="50" charset="0"/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Текст 16"/>
          <p:cNvSpPr>
            <a:spLocks noGrp="1"/>
          </p:cNvSpPr>
          <p:nvPr>
            <p:ph type="body" sz="quarter" idx="10" hasCustomPrompt="1"/>
          </p:nvPr>
        </p:nvSpPr>
        <p:spPr>
          <a:xfrm>
            <a:off x="4647497" y="4168546"/>
            <a:ext cx="3124210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911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2</a:t>
            </a:r>
          </a:p>
        </p:txBody>
      </p:sp>
      <p:sp>
        <p:nvSpPr>
          <p:cNvPr id="12" name="Текст 16"/>
          <p:cNvSpPr>
            <a:spLocks noGrp="1"/>
          </p:cNvSpPr>
          <p:nvPr>
            <p:ph type="body" sz="quarter" idx="11" hasCustomPrompt="1"/>
          </p:nvPr>
        </p:nvSpPr>
        <p:spPr>
          <a:xfrm>
            <a:off x="1541077" y="4180698"/>
            <a:ext cx="3106420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911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1</a:t>
            </a:r>
          </a:p>
        </p:txBody>
      </p:sp>
      <p:sp>
        <p:nvSpPr>
          <p:cNvPr id="13" name="Текст 16"/>
          <p:cNvSpPr>
            <a:spLocks noGrp="1"/>
          </p:cNvSpPr>
          <p:nvPr>
            <p:ph type="body" sz="quarter" idx="12" hasCustomPrompt="1"/>
          </p:nvPr>
        </p:nvSpPr>
        <p:spPr>
          <a:xfrm>
            <a:off x="10884604" y="4180698"/>
            <a:ext cx="3119310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911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4</a:t>
            </a:r>
          </a:p>
        </p:txBody>
      </p:sp>
      <p:sp>
        <p:nvSpPr>
          <p:cNvPr id="17" name="Текст 23"/>
          <p:cNvSpPr>
            <a:spLocks noGrp="1"/>
          </p:cNvSpPr>
          <p:nvPr>
            <p:ph type="body" sz="quarter" idx="13" hasCustomPrompt="1"/>
          </p:nvPr>
        </p:nvSpPr>
        <p:spPr>
          <a:xfrm>
            <a:off x="1537032" y="4861277"/>
            <a:ext cx="3106420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1</a:t>
            </a:r>
          </a:p>
        </p:txBody>
      </p:sp>
      <p:sp>
        <p:nvSpPr>
          <p:cNvPr id="18" name="Текст 23"/>
          <p:cNvSpPr>
            <a:spLocks noGrp="1"/>
          </p:cNvSpPr>
          <p:nvPr>
            <p:ph type="body" sz="quarter" idx="14" hasCustomPrompt="1"/>
          </p:nvPr>
        </p:nvSpPr>
        <p:spPr>
          <a:xfrm>
            <a:off x="4643453" y="4873428"/>
            <a:ext cx="3122598" cy="1543458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2</a:t>
            </a:r>
          </a:p>
        </p:txBody>
      </p:sp>
      <p:sp>
        <p:nvSpPr>
          <p:cNvPr id="19" name="Текст 23"/>
          <p:cNvSpPr>
            <a:spLocks noGrp="1"/>
          </p:cNvSpPr>
          <p:nvPr>
            <p:ph type="body" sz="quarter" idx="15" hasCustomPrompt="1"/>
          </p:nvPr>
        </p:nvSpPr>
        <p:spPr>
          <a:xfrm>
            <a:off x="10884605" y="4873430"/>
            <a:ext cx="3118554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4</a:t>
            </a:r>
          </a:p>
        </p:txBody>
      </p:sp>
      <p:sp>
        <p:nvSpPr>
          <p:cNvPr id="21" name="Текст 16"/>
          <p:cNvSpPr>
            <a:spLocks noGrp="1"/>
          </p:cNvSpPr>
          <p:nvPr>
            <p:ph type="body" sz="quarter" idx="16" hasCustomPrompt="1"/>
          </p:nvPr>
        </p:nvSpPr>
        <p:spPr>
          <a:xfrm>
            <a:off x="7766050" y="4180698"/>
            <a:ext cx="3119310" cy="668426"/>
          </a:xfrm>
        </p:spPr>
        <p:txBody>
          <a:bodyPr anchor="t">
            <a:normAutofit/>
          </a:bodyPr>
          <a:lstStyle>
            <a:lvl1pPr marL="0" indent="0" algn="ctr">
              <a:buNone/>
              <a:defRPr sz="1911">
                <a:solidFill>
                  <a:schemeClr val="tx1"/>
                </a:solidFill>
              </a:defRPr>
            </a:lvl1pPr>
            <a:lvl2pPr marL="582473" indent="0" algn="ctr">
              <a:buNone/>
              <a:defRPr/>
            </a:lvl2pPr>
            <a:lvl3pPr marL="1164946" indent="0" algn="ctr">
              <a:buNone/>
              <a:defRPr/>
            </a:lvl3pPr>
            <a:lvl4pPr marL="1747418" indent="0" algn="ctr">
              <a:buNone/>
              <a:defRPr/>
            </a:lvl4pPr>
            <a:lvl5pPr marL="2329891" indent="0" algn="ctr">
              <a:buNone/>
              <a:defRPr/>
            </a:lvl5pPr>
          </a:lstStyle>
          <a:p>
            <a:pPr lvl="0"/>
            <a:r>
              <a:rPr lang="ru-RU" dirty="0"/>
              <a:t>Название раздела 3</a:t>
            </a:r>
          </a:p>
        </p:txBody>
      </p:sp>
      <p:sp>
        <p:nvSpPr>
          <p:cNvPr id="23" name="Текст 23"/>
          <p:cNvSpPr>
            <a:spLocks noGrp="1"/>
          </p:cNvSpPr>
          <p:nvPr>
            <p:ph type="body" sz="quarter" idx="17" hasCustomPrompt="1"/>
          </p:nvPr>
        </p:nvSpPr>
        <p:spPr>
          <a:xfrm>
            <a:off x="7766051" y="4873430"/>
            <a:ext cx="3118554" cy="1543456"/>
          </a:xfrm>
        </p:spPr>
        <p:txBody>
          <a:bodyPr anchor="t">
            <a:normAutofit/>
          </a:bodyPr>
          <a:lstStyle>
            <a:lvl1pPr marL="0" indent="0" algn="ctr">
              <a:buNone/>
              <a:defRPr sz="1529" baseline="0"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1pPr>
            <a:lvl2pPr marL="582473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2pPr>
            <a:lvl3pPr marL="1164946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3pPr>
            <a:lvl4pPr marL="1747418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4pPr>
            <a:lvl5pPr marL="2329891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Bliss Pro ExtraLight" panose="02000506040000020004" pitchFamily="50" charset="0"/>
              </a:defRPr>
            </a:lvl5pPr>
          </a:lstStyle>
          <a:p>
            <a:pPr lvl="0"/>
            <a:r>
              <a:rPr lang="ru-RU" dirty="0"/>
              <a:t>Описание раздела 3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7766050" y="2819541"/>
            <a:ext cx="0" cy="3759388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10888649" y="2819541"/>
            <a:ext cx="0" cy="3759388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4651540" y="2819541"/>
            <a:ext cx="0" cy="3759388"/>
          </a:xfrm>
          <a:prstGeom prst="line">
            <a:avLst/>
          </a:prstGeom>
          <a:ln w="19050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V="1">
            <a:off x="14388427" y="8190276"/>
            <a:ext cx="0" cy="560024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20" y="496007"/>
            <a:ext cx="619276" cy="62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662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6312">
          <p15:clr>
            <a:srgbClr val="FBAE40"/>
          </p15:clr>
        </p15:guide>
        <p15:guide id="3" pos="1685">
          <p15:clr>
            <a:srgbClr val="FBAE40"/>
          </p15:clr>
        </p15:guide>
        <p15:guide id="4" pos="1368">
          <p15:clr>
            <a:srgbClr val="FBAE40"/>
          </p15:clr>
        </p15:guide>
        <p15:guide id="5" pos="5995">
          <p15:clr>
            <a:srgbClr val="FBAE40"/>
          </p15:clr>
        </p15:guide>
        <p15:guide id="6" pos="2887">
          <p15:clr>
            <a:srgbClr val="FBAE40"/>
          </p15:clr>
        </p15:guide>
        <p15:guide id="7" pos="3228">
          <p15:clr>
            <a:srgbClr val="FBAE40"/>
          </p15:clr>
        </p15:guide>
        <p15:guide id="8" pos="4452">
          <p15:clr>
            <a:srgbClr val="FBAE40"/>
          </p15:clr>
        </p15:guide>
        <p15:guide id="9" pos="4770">
          <p15:clr>
            <a:srgbClr val="FBAE40"/>
          </p15:clr>
        </p15:guide>
        <p15:guide id="10" orient="horz" pos="1593">
          <p15:clr>
            <a:srgbClr val="FBAE40"/>
          </p15:clr>
        </p15:guide>
        <p15:guide id="11" orient="horz" pos="193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1411045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Слайд think-cell" r:id="rId50" imgW="353" imgH="318" progId="TCLayout.ActiveDocument.1">
                  <p:embed/>
                </p:oleObj>
              </mc:Choice>
              <mc:Fallback>
                <p:oleObj name="Слайд think-cell" r:id="rId50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7832" y="465873"/>
            <a:ext cx="13396436" cy="16913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67832" y="2329362"/>
            <a:ext cx="13396436" cy="5551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067832" y="8110233"/>
            <a:ext cx="3494723" cy="4658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8/8/2022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145008" y="8110233"/>
            <a:ext cx="5242084" cy="4658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0969545" y="8110233"/>
            <a:ext cx="3494723" cy="4658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7030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678" r:id="rId28"/>
    <p:sldLayoutId id="2147483679" r:id="rId29"/>
    <p:sldLayoutId id="2147483680" r:id="rId30"/>
    <p:sldLayoutId id="2147483681" r:id="rId31"/>
    <p:sldLayoutId id="2147483682" r:id="rId32"/>
    <p:sldLayoutId id="2147483683" r:id="rId33"/>
    <p:sldLayoutId id="2147483684" r:id="rId34"/>
    <p:sldLayoutId id="2147483685" r:id="rId35"/>
    <p:sldLayoutId id="2147483686" r:id="rId36"/>
    <p:sldLayoutId id="2147483687" r:id="rId37"/>
    <p:sldLayoutId id="2147483688" r:id="rId38"/>
    <p:sldLayoutId id="2147483689" r:id="rId39"/>
    <p:sldLayoutId id="2147483690" r:id="rId40"/>
    <p:sldLayoutId id="2147483691" r:id="rId41"/>
    <p:sldLayoutId id="2147483692" r:id="rId42"/>
    <p:sldLayoutId id="2147483693" r:id="rId43"/>
    <p:sldLayoutId id="2147483694" r:id="rId44"/>
    <p:sldLayoutId id="2147483695" r:id="rId45"/>
    <p:sldLayoutId id="2147483696" r:id="rId46"/>
  </p:sldLayoutIdLst>
  <p:txStyles>
    <p:titleStyle>
      <a:lvl1pPr algn="l" defTabSz="1164946" rtl="0" eaLnBrk="1" latinLnBrk="0" hangingPunct="1">
        <a:lnSpc>
          <a:spcPct val="90000"/>
        </a:lnSpc>
        <a:spcBef>
          <a:spcPct val="0"/>
        </a:spcBef>
        <a:buNone/>
        <a:defRPr sz="560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1236" indent="-291236" algn="l" defTabSz="1164946" rtl="0" eaLnBrk="1" latinLnBrk="0" hangingPunct="1">
        <a:lnSpc>
          <a:spcPct val="90000"/>
        </a:lnSpc>
        <a:spcBef>
          <a:spcPts val="1274"/>
        </a:spcBef>
        <a:buFont typeface="Arial" panose="020B0604020202020204" pitchFamily="34" charset="0"/>
        <a:buChar char="•"/>
        <a:defRPr sz="3567" kern="1200">
          <a:solidFill>
            <a:schemeClr val="tx1"/>
          </a:solidFill>
          <a:latin typeface="+mn-lt"/>
          <a:ea typeface="+mn-ea"/>
          <a:cs typeface="+mn-cs"/>
        </a:defRPr>
      </a:lvl1pPr>
      <a:lvl2pPr marL="873709" indent="-291236" algn="l" defTabSz="1164946" rtl="0" eaLnBrk="1" latinLnBrk="0" hangingPunct="1">
        <a:lnSpc>
          <a:spcPct val="90000"/>
        </a:lnSpc>
        <a:spcBef>
          <a:spcPts val="637"/>
        </a:spcBef>
        <a:buFont typeface="Arial" panose="020B0604020202020204" pitchFamily="34" charset="0"/>
        <a:buChar char="•"/>
        <a:defRPr sz="3058" kern="1200">
          <a:solidFill>
            <a:schemeClr val="tx1"/>
          </a:solidFill>
          <a:latin typeface="+mn-lt"/>
          <a:ea typeface="+mn-ea"/>
          <a:cs typeface="+mn-cs"/>
        </a:defRPr>
      </a:lvl2pPr>
      <a:lvl3pPr marL="1456182" indent="-291236" algn="l" defTabSz="1164946" rtl="0" eaLnBrk="1" latinLnBrk="0" hangingPunct="1">
        <a:lnSpc>
          <a:spcPct val="90000"/>
        </a:lnSpc>
        <a:spcBef>
          <a:spcPts val="637"/>
        </a:spcBef>
        <a:buFont typeface="Arial" panose="020B0604020202020204" pitchFamily="34" charset="0"/>
        <a:buChar char="•"/>
        <a:defRPr sz="2548" kern="1200">
          <a:solidFill>
            <a:schemeClr val="tx1"/>
          </a:solidFill>
          <a:latin typeface="+mn-lt"/>
          <a:ea typeface="+mn-ea"/>
          <a:cs typeface="+mn-cs"/>
        </a:defRPr>
      </a:lvl3pPr>
      <a:lvl4pPr marL="2038655" indent="-291236" algn="l" defTabSz="1164946" rtl="0" eaLnBrk="1" latinLnBrk="0" hangingPunct="1">
        <a:lnSpc>
          <a:spcPct val="90000"/>
        </a:lnSpc>
        <a:spcBef>
          <a:spcPts val="637"/>
        </a:spcBef>
        <a:buFont typeface="Arial" panose="020B0604020202020204" pitchFamily="34" charset="0"/>
        <a:buChar char="•"/>
        <a:defRPr sz="2293" kern="1200">
          <a:solidFill>
            <a:schemeClr val="tx1"/>
          </a:solidFill>
          <a:latin typeface="+mn-lt"/>
          <a:ea typeface="+mn-ea"/>
          <a:cs typeface="+mn-cs"/>
        </a:defRPr>
      </a:lvl4pPr>
      <a:lvl5pPr marL="2621128" indent="-291236" algn="l" defTabSz="1164946" rtl="0" eaLnBrk="1" latinLnBrk="0" hangingPunct="1">
        <a:lnSpc>
          <a:spcPct val="90000"/>
        </a:lnSpc>
        <a:spcBef>
          <a:spcPts val="637"/>
        </a:spcBef>
        <a:buFont typeface="Arial" panose="020B0604020202020204" pitchFamily="34" charset="0"/>
        <a:buChar char="•"/>
        <a:defRPr sz="2293" kern="1200">
          <a:solidFill>
            <a:schemeClr val="tx1"/>
          </a:solidFill>
          <a:latin typeface="+mn-lt"/>
          <a:ea typeface="+mn-ea"/>
          <a:cs typeface="+mn-cs"/>
        </a:defRPr>
      </a:lvl5pPr>
      <a:lvl6pPr marL="3203600" indent="-291236" algn="l" defTabSz="1164946" rtl="0" eaLnBrk="1" latinLnBrk="0" hangingPunct="1">
        <a:lnSpc>
          <a:spcPct val="90000"/>
        </a:lnSpc>
        <a:spcBef>
          <a:spcPts val="637"/>
        </a:spcBef>
        <a:buFont typeface="Arial" panose="020B0604020202020204" pitchFamily="34" charset="0"/>
        <a:buChar char="•"/>
        <a:defRPr sz="2293" kern="1200">
          <a:solidFill>
            <a:schemeClr val="tx1"/>
          </a:solidFill>
          <a:latin typeface="+mn-lt"/>
          <a:ea typeface="+mn-ea"/>
          <a:cs typeface="+mn-cs"/>
        </a:defRPr>
      </a:lvl6pPr>
      <a:lvl7pPr marL="3786073" indent="-291236" algn="l" defTabSz="1164946" rtl="0" eaLnBrk="1" latinLnBrk="0" hangingPunct="1">
        <a:lnSpc>
          <a:spcPct val="90000"/>
        </a:lnSpc>
        <a:spcBef>
          <a:spcPts val="637"/>
        </a:spcBef>
        <a:buFont typeface="Arial" panose="020B0604020202020204" pitchFamily="34" charset="0"/>
        <a:buChar char="•"/>
        <a:defRPr sz="2293" kern="1200">
          <a:solidFill>
            <a:schemeClr val="tx1"/>
          </a:solidFill>
          <a:latin typeface="+mn-lt"/>
          <a:ea typeface="+mn-ea"/>
          <a:cs typeface="+mn-cs"/>
        </a:defRPr>
      </a:lvl7pPr>
      <a:lvl8pPr marL="4368546" indent="-291236" algn="l" defTabSz="1164946" rtl="0" eaLnBrk="1" latinLnBrk="0" hangingPunct="1">
        <a:lnSpc>
          <a:spcPct val="90000"/>
        </a:lnSpc>
        <a:spcBef>
          <a:spcPts val="637"/>
        </a:spcBef>
        <a:buFont typeface="Arial" panose="020B0604020202020204" pitchFamily="34" charset="0"/>
        <a:buChar char="•"/>
        <a:defRPr sz="2293" kern="1200">
          <a:solidFill>
            <a:schemeClr val="tx1"/>
          </a:solidFill>
          <a:latin typeface="+mn-lt"/>
          <a:ea typeface="+mn-ea"/>
          <a:cs typeface="+mn-cs"/>
        </a:defRPr>
      </a:lvl8pPr>
      <a:lvl9pPr marL="4951019" indent="-291236" algn="l" defTabSz="1164946" rtl="0" eaLnBrk="1" latinLnBrk="0" hangingPunct="1">
        <a:lnSpc>
          <a:spcPct val="90000"/>
        </a:lnSpc>
        <a:spcBef>
          <a:spcPts val="637"/>
        </a:spcBef>
        <a:buFont typeface="Arial" panose="020B0604020202020204" pitchFamily="34" charset="0"/>
        <a:buChar char="•"/>
        <a:defRPr sz="229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64946" rtl="0" eaLnBrk="1" latinLnBrk="0" hangingPunct="1">
        <a:defRPr sz="2293" kern="1200">
          <a:solidFill>
            <a:schemeClr val="tx1"/>
          </a:solidFill>
          <a:latin typeface="+mn-lt"/>
          <a:ea typeface="+mn-ea"/>
          <a:cs typeface="+mn-cs"/>
        </a:defRPr>
      </a:lvl1pPr>
      <a:lvl2pPr marL="582473" algn="l" defTabSz="1164946" rtl="0" eaLnBrk="1" latinLnBrk="0" hangingPunct="1">
        <a:defRPr sz="2293" kern="1200">
          <a:solidFill>
            <a:schemeClr val="tx1"/>
          </a:solidFill>
          <a:latin typeface="+mn-lt"/>
          <a:ea typeface="+mn-ea"/>
          <a:cs typeface="+mn-cs"/>
        </a:defRPr>
      </a:lvl2pPr>
      <a:lvl3pPr marL="1164946" algn="l" defTabSz="1164946" rtl="0" eaLnBrk="1" latinLnBrk="0" hangingPunct="1">
        <a:defRPr sz="2293" kern="1200">
          <a:solidFill>
            <a:schemeClr val="tx1"/>
          </a:solidFill>
          <a:latin typeface="+mn-lt"/>
          <a:ea typeface="+mn-ea"/>
          <a:cs typeface="+mn-cs"/>
        </a:defRPr>
      </a:lvl3pPr>
      <a:lvl4pPr marL="1747418" algn="l" defTabSz="1164946" rtl="0" eaLnBrk="1" latinLnBrk="0" hangingPunct="1">
        <a:defRPr sz="2293" kern="1200">
          <a:solidFill>
            <a:schemeClr val="tx1"/>
          </a:solidFill>
          <a:latin typeface="+mn-lt"/>
          <a:ea typeface="+mn-ea"/>
          <a:cs typeface="+mn-cs"/>
        </a:defRPr>
      </a:lvl4pPr>
      <a:lvl5pPr marL="2329891" algn="l" defTabSz="1164946" rtl="0" eaLnBrk="1" latinLnBrk="0" hangingPunct="1">
        <a:defRPr sz="2293" kern="1200">
          <a:solidFill>
            <a:schemeClr val="tx1"/>
          </a:solidFill>
          <a:latin typeface="+mn-lt"/>
          <a:ea typeface="+mn-ea"/>
          <a:cs typeface="+mn-cs"/>
        </a:defRPr>
      </a:lvl5pPr>
      <a:lvl6pPr marL="2912364" algn="l" defTabSz="1164946" rtl="0" eaLnBrk="1" latinLnBrk="0" hangingPunct="1">
        <a:defRPr sz="2293" kern="1200">
          <a:solidFill>
            <a:schemeClr val="tx1"/>
          </a:solidFill>
          <a:latin typeface="+mn-lt"/>
          <a:ea typeface="+mn-ea"/>
          <a:cs typeface="+mn-cs"/>
        </a:defRPr>
      </a:lvl6pPr>
      <a:lvl7pPr marL="3494837" algn="l" defTabSz="1164946" rtl="0" eaLnBrk="1" latinLnBrk="0" hangingPunct="1">
        <a:defRPr sz="2293" kern="1200">
          <a:solidFill>
            <a:schemeClr val="tx1"/>
          </a:solidFill>
          <a:latin typeface="+mn-lt"/>
          <a:ea typeface="+mn-ea"/>
          <a:cs typeface="+mn-cs"/>
        </a:defRPr>
      </a:lvl7pPr>
      <a:lvl8pPr marL="4077310" algn="l" defTabSz="1164946" rtl="0" eaLnBrk="1" latinLnBrk="0" hangingPunct="1">
        <a:defRPr sz="2293" kern="1200">
          <a:solidFill>
            <a:schemeClr val="tx1"/>
          </a:solidFill>
          <a:latin typeface="+mn-lt"/>
          <a:ea typeface="+mn-ea"/>
          <a:cs typeface="+mn-cs"/>
        </a:defRPr>
      </a:lvl8pPr>
      <a:lvl9pPr marL="4659782" algn="l" defTabSz="1164946" rtl="0" eaLnBrk="1" latinLnBrk="0" hangingPunct="1">
        <a:defRPr sz="22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.xml"/><Relationship Id="rId7" Type="http://schemas.openxmlformats.org/officeDocument/2006/relationships/image" Target="../media/image13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3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12"/>
          <p:cNvSpPr>
            <a:spLocks noGrp="1"/>
          </p:cNvSpPr>
          <p:nvPr>
            <p:ph type="body" sz="quarter" idx="11"/>
          </p:nvPr>
        </p:nvSpPr>
        <p:spPr>
          <a:xfrm>
            <a:off x="5249347" y="2205062"/>
            <a:ext cx="10088189" cy="3195994"/>
          </a:xfrm>
        </p:spPr>
        <p:txBody>
          <a:bodyPr anchor="ctr">
            <a:noAutofit/>
          </a:bodyPr>
          <a:lstStyle/>
          <a:p>
            <a:r>
              <a:rPr lang="ru-RU" sz="4800" b="1" dirty="0" smtClean="0"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Нормативное регулирование применения банковского и казначейского сопровождений</a:t>
            </a:r>
            <a:endParaRPr lang="ru-RU" sz="4800" b="1" dirty="0"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2"/>
          </p:nvPr>
        </p:nvSpPr>
        <p:spPr>
          <a:xfrm>
            <a:off x="6873726" y="7850738"/>
            <a:ext cx="5611347" cy="332964"/>
          </a:xfrm>
        </p:spPr>
        <p:txBody>
          <a:bodyPr/>
          <a:lstStyle/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ПАРТАМЕНТ БАНКОВСКОГО СОПРОВОЖДЕНИЯ КОНТРАКТОВ </a:t>
            </a:r>
            <a:endParaRPr lang="en-US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густ, 202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401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353618"/>
              </p:ext>
            </p:extLst>
          </p:nvPr>
        </p:nvGraphicFramePr>
        <p:xfrm>
          <a:off x="13562" y="8332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562" y="8332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Cera CY" panose="00000500000000000000" pitchFamily="50" charset="-52"/>
              <a:ea typeface="Stem Medium" panose="020B0603020203020204" pitchFamily="34" charset="-52"/>
              <a:cs typeface="+mj-cs"/>
              <a:sym typeface="Cera CY" panose="00000500000000000000" pitchFamily="50" charset="-52"/>
            </a:endParaRPr>
          </a:p>
        </p:txBody>
      </p:sp>
      <p:sp>
        <p:nvSpPr>
          <p:cNvPr id="3" name="Прямоугольник 2" hidden="1"/>
          <p:cNvSpPr/>
          <p:nvPr>
            <p:custDataLst>
              <p:tags r:id="rId4"/>
            </p:custDataLst>
          </p:nvPr>
        </p:nvSpPr>
        <p:spPr>
          <a:xfrm>
            <a:off x="11977" y="6747"/>
            <a:ext cx="158505" cy="1585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96" b="1" dirty="0">
              <a:latin typeface="Cera CY" panose="00000500000000000000" pitchFamily="50" charset="-52"/>
              <a:ea typeface="Stem Medium" panose="020B0603020203020204" pitchFamily="34" charset="-52"/>
              <a:cs typeface="+mj-cs"/>
              <a:sym typeface="Cera CY" panose="00000500000000000000" pitchFamily="50" charset="-52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1323877" y="565909"/>
            <a:ext cx="13570949" cy="509216"/>
          </a:xfrm>
        </p:spPr>
        <p:txBody>
          <a:bodyPr vert="horz">
            <a:noAutofit/>
          </a:bodyPr>
          <a:lstStyle/>
          <a:p>
            <a:r>
              <a:rPr lang="ru-RU" sz="2400" b="1" dirty="0" smtClean="0">
                <a:solidFill>
                  <a:srgbClr val="0070C0"/>
                </a:solidFill>
                <a:latin typeface="Cera CY" panose="00000500000000000000" pitchFamily="2" charset="-52"/>
              </a:rPr>
              <a:t>ЭТАПЫ РАЗВИТИЯ СОПРОВОЖДЕНИЯ ГОСУДАРСТВЕННЫХ КОНТРАКТОВ</a:t>
            </a:r>
            <a:endParaRPr lang="ru-RU" sz="2400" b="1" dirty="0">
              <a:solidFill>
                <a:srgbClr val="0070C0"/>
              </a:solidFill>
              <a:latin typeface="Cera CY" panose="00000500000000000000" pitchFamily="2" charset="-52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14399332" y="8184392"/>
            <a:ext cx="694723" cy="559161"/>
          </a:xfrm>
        </p:spPr>
        <p:txBody>
          <a:bodyPr/>
          <a:lstStyle/>
          <a:p>
            <a:r>
              <a:rPr lang="ru-RU" sz="2097" dirty="0" smtClean="0">
                <a:solidFill>
                  <a:srgbClr val="006AB4"/>
                </a:solidFill>
                <a:latin typeface="Cera CY" panose="00000500000000000000" pitchFamily="2" charset="-52"/>
              </a:rPr>
              <a:t>2</a:t>
            </a:r>
            <a:endParaRPr lang="ru-RU" sz="2097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 flipV="1">
            <a:off x="1077686" y="4320346"/>
            <a:ext cx="13136346" cy="46774"/>
          </a:xfrm>
          <a:prstGeom prst="line">
            <a:avLst/>
          </a:prstGeom>
          <a:ln w="28575" cap="rnd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вал 23"/>
          <p:cNvSpPr/>
          <p:nvPr/>
        </p:nvSpPr>
        <p:spPr>
          <a:xfrm>
            <a:off x="1673401" y="4224398"/>
            <a:ext cx="301505" cy="301505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6363438" y="4224398"/>
            <a:ext cx="301505" cy="301505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3974877" y="4224398"/>
            <a:ext cx="301505" cy="301505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8664919" y="4224398"/>
            <a:ext cx="301505" cy="301505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11053480" y="4224398"/>
            <a:ext cx="301505" cy="301505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1825677" y="3898910"/>
            <a:ext cx="0" cy="325489"/>
          </a:xfrm>
          <a:prstGeom prst="line">
            <a:avLst/>
          </a:prstGeom>
          <a:ln w="28575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4126772" y="4525904"/>
            <a:ext cx="0" cy="325489"/>
          </a:xfrm>
          <a:prstGeom prst="line">
            <a:avLst/>
          </a:prstGeom>
          <a:ln w="28575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6514953" y="3898910"/>
            <a:ext cx="0" cy="325489"/>
          </a:xfrm>
          <a:prstGeom prst="line">
            <a:avLst/>
          </a:prstGeom>
          <a:ln w="28575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8816053" y="4525904"/>
            <a:ext cx="0" cy="325489"/>
          </a:xfrm>
          <a:prstGeom prst="line">
            <a:avLst/>
          </a:prstGeom>
          <a:ln w="28575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1204232" y="3898910"/>
            <a:ext cx="0" cy="325489"/>
          </a:xfrm>
          <a:prstGeom prst="line">
            <a:avLst/>
          </a:prstGeom>
          <a:ln w="28575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/>
          <p:cNvSpPr/>
          <p:nvPr/>
        </p:nvSpPr>
        <p:spPr>
          <a:xfrm>
            <a:off x="4081088" y="4330610"/>
            <a:ext cx="89082" cy="89082"/>
          </a:xfrm>
          <a:prstGeom prst="ellipse">
            <a:avLst/>
          </a:prstGeom>
          <a:solidFill>
            <a:srgbClr val="005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35" name="Овал 34"/>
          <p:cNvSpPr/>
          <p:nvPr/>
        </p:nvSpPr>
        <p:spPr>
          <a:xfrm>
            <a:off x="6469648" y="4330610"/>
            <a:ext cx="89082" cy="89082"/>
          </a:xfrm>
          <a:prstGeom prst="ellipse">
            <a:avLst/>
          </a:prstGeom>
          <a:solidFill>
            <a:srgbClr val="005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36" name="Овал 35"/>
          <p:cNvSpPr/>
          <p:nvPr/>
        </p:nvSpPr>
        <p:spPr>
          <a:xfrm>
            <a:off x="8771130" y="4330610"/>
            <a:ext cx="89082" cy="89082"/>
          </a:xfrm>
          <a:prstGeom prst="ellipse">
            <a:avLst/>
          </a:prstGeom>
          <a:solidFill>
            <a:srgbClr val="005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37" name="Овал 36"/>
          <p:cNvSpPr/>
          <p:nvPr/>
        </p:nvSpPr>
        <p:spPr>
          <a:xfrm>
            <a:off x="11159691" y="4330610"/>
            <a:ext cx="89082" cy="89082"/>
          </a:xfrm>
          <a:prstGeom prst="ellipse">
            <a:avLst/>
          </a:prstGeom>
          <a:solidFill>
            <a:srgbClr val="005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38" name="Овал 37"/>
          <p:cNvSpPr/>
          <p:nvPr/>
        </p:nvSpPr>
        <p:spPr>
          <a:xfrm>
            <a:off x="1779612" y="4330610"/>
            <a:ext cx="89082" cy="89082"/>
          </a:xfrm>
          <a:prstGeom prst="ellipse">
            <a:avLst/>
          </a:prstGeom>
          <a:solidFill>
            <a:srgbClr val="005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1229564" y="2703167"/>
            <a:ext cx="1189176" cy="1189177"/>
          </a:xfrm>
          <a:prstGeom prst="ellipse">
            <a:avLst/>
          </a:prstGeom>
          <a:solidFill>
            <a:schemeClr val="bg1"/>
          </a:solidFill>
          <a:ln w="28575" cap="rnd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40" name="Овал 39"/>
          <p:cNvSpPr/>
          <p:nvPr/>
        </p:nvSpPr>
        <p:spPr>
          <a:xfrm>
            <a:off x="3530658" y="4851393"/>
            <a:ext cx="1189176" cy="1189177"/>
          </a:xfrm>
          <a:prstGeom prst="ellipse">
            <a:avLst/>
          </a:prstGeom>
          <a:solidFill>
            <a:schemeClr val="bg1"/>
          </a:solidFill>
          <a:ln w="28575" cap="rnd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5918837" y="2703167"/>
            <a:ext cx="1189176" cy="1189177"/>
          </a:xfrm>
          <a:prstGeom prst="ellipse">
            <a:avLst/>
          </a:prstGeom>
          <a:solidFill>
            <a:schemeClr val="bg1"/>
          </a:solidFill>
          <a:ln w="28575" cap="rnd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8219936" y="4851393"/>
            <a:ext cx="1189176" cy="1189177"/>
          </a:xfrm>
          <a:prstGeom prst="ellipse">
            <a:avLst/>
          </a:prstGeom>
          <a:solidFill>
            <a:schemeClr val="bg1"/>
          </a:solidFill>
          <a:ln w="28575" cap="rnd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10608114" y="2703167"/>
            <a:ext cx="1189176" cy="1189177"/>
          </a:xfrm>
          <a:prstGeom prst="ellipse">
            <a:avLst/>
          </a:prstGeom>
          <a:solidFill>
            <a:schemeClr val="bg1"/>
          </a:solidFill>
          <a:ln w="28575" cap="rnd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978539" y="3512918"/>
            <a:ext cx="2293412" cy="484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48" b="1" dirty="0" smtClean="0">
                <a:solidFill>
                  <a:srgbClr val="0057B5"/>
                </a:solidFill>
                <a:latin typeface="Cera CY" panose="00000500000000000000" pitchFamily="2" charset="-52"/>
              </a:rPr>
              <a:t>2014</a:t>
            </a:r>
            <a:endParaRPr lang="ru-RU" sz="2548" b="1" dirty="0">
              <a:solidFill>
                <a:srgbClr val="0057B5"/>
              </a:solidFill>
              <a:latin typeface="Cera CY" panose="00000500000000000000" pitchFamily="2" charset="-5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668015" y="3512918"/>
            <a:ext cx="2293412" cy="484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548" b="1" dirty="0" smtClean="0">
                <a:solidFill>
                  <a:srgbClr val="0057B5"/>
                </a:solidFill>
                <a:latin typeface="Cera CY" panose="00000500000000000000" pitchFamily="2" charset="-52"/>
              </a:rPr>
              <a:t>2015</a:t>
            </a:r>
            <a:endParaRPr lang="ru-RU" sz="2548" b="1" dirty="0">
              <a:solidFill>
                <a:srgbClr val="0057B5"/>
              </a:solidFill>
              <a:latin typeface="Cera CY" panose="00000500000000000000" pitchFamily="2" charset="-52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366719" y="4751929"/>
            <a:ext cx="2293412" cy="484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548" b="1" dirty="0" smtClean="0">
                <a:solidFill>
                  <a:srgbClr val="0057B5"/>
                </a:solidFill>
                <a:latin typeface="Cera CY" panose="00000500000000000000" pitchFamily="2" charset="-52"/>
              </a:rPr>
              <a:t>20</a:t>
            </a:r>
            <a:r>
              <a:rPr lang="en-US" sz="2548" b="1" dirty="0" smtClean="0">
                <a:solidFill>
                  <a:srgbClr val="0057B5"/>
                </a:solidFill>
                <a:latin typeface="Cera CY" panose="00000500000000000000" pitchFamily="2" charset="-52"/>
              </a:rPr>
              <a:t>15</a:t>
            </a:r>
            <a:endParaRPr lang="ru-RU" sz="2548" b="1" dirty="0">
              <a:solidFill>
                <a:srgbClr val="0057B5"/>
              </a:solidFill>
              <a:latin typeface="Cera CY" panose="00000500000000000000" pitchFamily="2" charset="-52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77443" y="4751929"/>
            <a:ext cx="2293412" cy="484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48" b="1" dirty="0" smtClean="0">
                <a:solidFill>
                  <a:srgbClr val="0057B5"/>
                </a:solidFill>
                <a:latin typeface="Cera CY" panose="00000500000000000000" pitchFamily="2" charset="-52"/>
              </a:rPr>
              <a:t>2013</a:t>
            </a:r>
            <a:endParaRPr lang="ru-RU" sz="2548" b="1" dirty="0">
              <a:solidFill>
                <a:srgbClr val="0057B5"/>
              </a:solidFill>
              <a:latin typeface="Cera CY" panose="00000500000000000000" pitchFamily="2" charset="-52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0055996" y="4751929"/>
            <a:ext cx="2293412" cy="484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548" b="1" dirty="0" smtClean="0">
                <a:solidFill>
                  <a:srgbClr val="0057B5"/>
                </a:solidFill>
                <a:latin typeface="Cera CY" panose="00000500000000000000" pitchFamily="2" charset="-52"/>
              </a:rPr>
              <a:t>2022</a:t>
            </a:r>
            <a:endParaRPr lang="ru-RU" sz="2548" b="1" dirty="0">
              <a:solidFill>
                <a:srgbClr val="0057B5"/>
              </a:solidFill>
              <a:latin typeface="Cera CY" panose="00000500000000000000" pitchFamily="2" charset="-52"/>
            </a:endParaRPr>
          </a:p>
        </p:txBody>
      </p:sp>
      <p:sp>
        <p:nvSpPr>
          <p:cNvPr id="49" name="object 15"/>
          <p:cNvSpPr>
            <a:spLocks noChangeAspect="1"/>
          </p:cNvSpPr>
          <p:nvPr/>
        </p:nvSpPr>
        <p:spPr>
          <a:xfrm>
            <a:off x="1478655" y="2953786"/>
            <a:ext cx="687938" cy="687938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93" dirty="0">
              <a:latin typeface="Cera CY" panose="00000500000000000000" pitchFamily="2" charset="-52"/>
            </a:endParaRPr>
          </a:p>
        </p:txBody>
      </p:sp>
      <p:sp>
        <p:nvSpPr>
          <p:cNvPr id="50" name="object 15"/>
          <p:cNvSpPr>
            <a:spLocks noChangeAspect="1"/>
          </p:cNvSpPr>
          <p:nvPr/>
        </p:nvSpPr>
        <p:spPr>
          <a:xfrm>
            <a:off x="6169555" y="2953786"/>
            <a:ext cx="687938" cy="687938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93" dirty="0">
              <a:latin typeface="Cera CY" panose="00000500000000000000" pitchFamily="2" charset="-52"/>
            </a:endParaRPr>
          </a:p>
        </p:txBody>
      </p:sp>
      <p:sp>
        <p:nvSpPr>
          <p:cNvPr id="51" name="object 15"/>
          <p:cNvSpPr>
            <a:spLocks noChangeAspect="1"/>
          </p:cNvSpPr>
          <p:nvPr/>
        </p:nvSpPr>
        <p:spPr>
          <a:xfrm>
            <a:off x="10857598" y="2953786"/>
            <a:ext cx="687938" cy="687938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93" dirty="0">
              <a:latin typeface="Cera CY" panose="00000500000000000000" pitchFamily="2" charset="-52"/>
            </a:endParaRPr>
          </a:p>
        </p:txBody>
      </p:sp>
      <p:sp>
        <p:nvSpPr>
          <p:cNvPr id="52" name="object 15"/>
          <p:cNvSpPr>
            <a:spLocks noChangeAspect="1"/>
          </p:cNvSpPr>
          <p:nvPr/>
        </p:nvSpPr>
        <p:spPr>
          <a:xfrm>
            <a:off x="8469024" y="5102012"/>
            <a:ext cx="687938" cy="687938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93" dirty="0">
              <a:latin typeface="Cera CY" panose="00000500000000000000" pitchFamily="2" charset="-52"/>
            </a:endParaRPr>
          </a:p>
        </p:txBody>
      </p:sp>
      <p:sp>
        <p:nvSpPr>
          <p:cNvPr id="53" name="object 15"/>
          <p:cNvSpPr>
            <a:spLocks noChangeAspect="1"/>
          </p:cNvSpPr>
          <p:nvPr/>
        </p:nvSpPr>
        <p:spPr>
          <a:xfrm>
            <a:off x="3779743" y="5102012"/>
            <a:ext cx="687938" cy="687938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93" dirty="0">
              <a:latin typeface="Cera CY" panose="00000500000000000000" pitchFamily="2" charset="-52"/>
            </a:endParaRPr>
          </a:p>
        </p:txBody>
      </p:sp>
      <p:sp>
        <p:nvSpPr>
          <p:cNvPr id="54" name="TextBox 53"/>
          <p:cNvSpPr txBox="1"/>
          <p:nvPr/>
        </p:nvSpPr>
        <p:spPr>
          <a:xfrm flipH="1">
            <a:off x="2540012" y="2281071"/>
            <a:ext cx="32575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>
                <a:latin typeface="Cera CY" panose="00000500000000000000" pitchFamily="2" charset="-52"/>
              </a:defRPr>
            </a:lvl1pPr>
          </a:lstStyle>
          <a:p>
            <a:r>
              <a:rPr lang="ru-RU" dirty="0"/>
              <a:t>Постановление Правительства РФ № 963 «Об осуществлении банковского сопровождения контрактов»</a:t>
            </a:r>
            <a:endParaRPr lang="en-US" dirty="0"/>
          </a:p>
        </p:txBody>
      </p:sp>
      <p:sp>
        <p:nvSpPr>
          <p:cNvPr id="55" name="TextBox 54"/>
          <p:cNvSpPr txBox="1"/>
          <p:nvPr/>
        </p:nvSpPr>
        <p:spPr>
          <a:xfrm flipH="1">
            <a:off x="7039014" y="2281071"/>
            <a:ext cx="35159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>
                <a:latin typeface="Cera CY" panose="00000500000000000000" pitchFamily="2" charset="-52"/>
              </a:defRPr>
            </a:lvl1pPr>
          </a:lstStyle>
          <a:p>
            <a:r>
              <a:rPr lang="ru-RU" dirty="0" smtClean="0"/>
              <a:t>Включение раздела Банковское сопровождение в </a:t>
            </a:r>
            <a:r>
              <a:rPr lang="ru-RU" dirty="0" err="1" smtClean="0"/>
              <a:t>гособоронзаказ</a:t>
            </a:r>
            <a:r>
              <a:rPr lang="ru-RU" dirty="0" smtClean="0"/>
              <a:t>.</a:t>
            </a:r>
          </a:p>
          <a:p>
            <a:r>
              <a:rPr lang="ru-RU" dirty="0" smtClean="0"/>
              <a:t>Федеральный закон 275-ФЗ</a:t>
            </a:r>
            <a:endParaRPr lang="en-US" dirty="0"/>
          </a:p>
        </p:txBody>
      </p:sp>
      <p:sp>
        <p:nvSpPr>
          <p:cNvPr id="56" name="TextBox 55"/>
          <p:cNvSpPr txBox="1"/>
          <p:nvPr/>
        </p:nvSpPr>
        <p:spPr>
          <a:xfrm flipH="1">
            <a:off x="9784943" y="5220485"/>
            <a:ext cx="30130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sz="1400" b="1" dirty="0" smtClean="0">
                <a:latin typeface="Cera CY" panose="00000500000000000000" pitchFamily="2" charset="-52"/>
                <a:cs typeface="Calibri" panose="020F0502020204030204" pitchFamily="34" charset="0"/>
              </a:rPr>
              <a:t>Банковское сопровождение фондов капитального ремонта.</a:t>
            </a:r>
          </a:p>
          <a:p>
            <a:pPr lvl="0" algn="ctr"/>
            <a:r>
              <a:rPr lang="ru-RU" sz="1400" b="1" dirty="0" smtClean="0">
                <a:latin typeface="Cera CY" panose="00000500000000000000" pitchFamily="2" charset="-52"/>
                <a:cs typeface="Calibri" panose="020F0502020204030204" pitchFamily="34" charset="0"/>
              </a:rPr>
              <a:t>Постановление Правительства РФ № 813</a:t>
            </a:r>
          </a:p>
        </p:txBody>
      </p:sp>
      <p:sp>
        <p:nvSpPr>
          <p:cNvPr id="57" name="TextBox 56"/>
          <p:cNvSpPr txBox="1"/>
          <p:nvPr/>
        </p:nvSpPr>
        <p:spPr>
          <a:xfrm flipH="1">
            <a:off x="4765590" y="5284262"/>
            <a:ext cx="3539647" cy="935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sz="1400" b="1" dirty="0">
                <a:latin typeface="Cera CY" panose="00000500000000000000" pitchFamily="2" charset="-52"/>
              </a:rPr>
              <a:t>Возникновение</a:t>
            </a:r>
            <a:r>
              <a:rPr lang="ru-RU" sz="1401" b="1" dirty="0" smtClean="0">
                <a:latin typeface="Cera CY" panose="00000500000000000000" pitchFamily="2" charset="-52"/>
                <a:cs typeface="Calibri" panose="020F0502020204030204" pitchFamily="34" charset="0"/>
              </a:rPr>
              <a:t> </a:t>
            </a:r>
          </a:p>
          <a:p>
            <a:pPr lvl="0" algn="ctr"/>
            <a:r>
              <a:rPr lang="ru-RU" sz="1401" b="1" dirty="0" smtClean="0">
                <a:latin typeface="Cera CY" panose="00000500000000000000" pitchFamily="2" charset="-52"/>
                <a:cs typeface="Calibri" panose="020F0502020204030204" pitchFamily="34" charset="0"/>
              </a:rPr>
              <a:t>казначейского сопровождения контрактов.</a:t>
            </a:r>
          </a:p>
          <a:p>
            <a:pPr lvl="0" algn="ctr"/>
            <a:r>
              <a:rPr lang="ru-RU" sz="1274" b="1" dirty="0" smtClean="0">
                <a:latin typeface="Cera CY" panose="00000500000000000000" pitchFamily="2" charset="-52"/>
                <a:cs typeface="Calibri" panose="020F0502020204030204" pitchFamily="34" charset="0"/>
              </a:rPr>
              <a:t>Постановление Правительства РФ №1563</a:t>
            </a:r>
            <a:endParaRPr lang="en-US" sz="1274" b="1" dirty="0">
              <a:latin typeface="Cera CY" panose="00000500000000000000" pitchFamily="2" charset="-52"/>
              <a:cs typeface="Calibri" panose="020F050202020403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 flipH="1">
            <a:off x="261192" y="5287583"/>
            <a:ext cx="34956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Cera CY" panose="00000500000000000000" pitchFamily="2" charset="-52"/>
              </a:rPr>
              <a:t>Федеральный закон </a:t>
            </a:r>
            <a:endParaRPr lang="ru-RU" sz="1400" b="1" dirty="0" smtClean="0">
              <a:latin typeface="Cera CY" panose="00000500000000000000" pitchFamily="2" charset="-52"/>
            </a:endParaRPr>
          </a:p>
          <a:p>
            <a:pPr algn="ctr"/>
            <a:r>
              <a:rPr lang="ru-RU" sz="1400" b="1" dirty="0" smtClean="0">
                <a:latin typeface="Cera CY" panose="00000500000000000000" pitchFamily="2" charset="-52"/>
              </a:rPr>
              <a:t>№ </a:t>
            </a:r>
            <a:r>
              <a:rPr lang="ru-RU" sz="1400" b="1" dirty="0">
                <a:latin typeface="Cera CY" panose="00000500000000000000" pitchFamily="2" charset="-52"/>
              </a:rPr>
              <a:t>44-ФЗ, </a:t>
            </a:r>
            <a:r>
              <a:rPr lang="ru-RU" sz="1400" b="1" dirty="0" smtClean="0">
                <a:latin typeface="Cera CY" panose="00000500000000000000" pitchFamily="2" charset="-52"/>
              </a:rPr>
              <a:t>ст.35</a:t>
            </a:r>
            <a:r>
              <a:rPr lang="en-US" sz="1400" b="1" dirty="0" smtClean="0">
                <a:latin typeface="Cera CY" panose="00000500000000000000" pitchFamily="2" charset="-52"/>
              </a:rPr>
              <a:t> </a:t>
            </a:r>
            <a:r>
              <a:rPr lang="ru-RU" sz="1400" b="1" dirty="0" smtClean="0">
                <a:latin typeface="Cera CY" panose="00000500000000000000" pitchFamily="2" charset="-52"/>
              </a:rPr>
              <a:t>«Банковское </a:t>
            </a:r>
            <a:r>
              <a:rPr lang="ru-RU" sz="1400" b="1" dirty="0">
                <a:latin typeface="Cera CY" panose="00000500000000000000" pitchFamily="2" charset="-52"/>
              </a:rPr>
              <a:t>сопровождение </a:t>
            </a:r>
            <a:r>
              <a:rPr lang="ru-RU" sz="1400" b="1" dirty="0" smtClean="0">
                <a:latin typeface="Cera CY" panose="00000500000000000000" pitchFamily="2" charset="-52"/>
              </a:rPr>
              <a:t>контрактов»</a:t>
            </a:r>
            <a:endParaRPr lang="ru-RU" sz="1400" b="1" dirty="0">
              <a:latin typeface="Cera CY" panose="00000500000000000000" pitchFamily="2" charset="-52"/>
            </a:endParaRPr>
          </a:p>
          <a:p>
            <a:pPr lvl="0" algn="ctr"/>
            <a:endParaRPr lang="en-US" sz="1400" b="1" dirty="0">
              <a:solidFill>
                <a:srgbClr val="424242"/>
              </a:solidFill>
              <a:latin typeface="Cera CY" panose="00000500000000000000" pitchFamily="2" charset="-52"/>
              <a:cs typeface="Calibri" panose="020F0502020204030204" pitchFamily="34" charset="0"/>
            </a:endParaRPr>
          </a:p>
        </p:txBody>
      </p:sp>
      <p:sp>
        <p:nvSpPr>
          <p:cNvPr id="58" name="Овал 57"/>
          <p:cNvSpPr/>
          <p:nvPr/>
        </p:nvSpPr>
        <p:spPr>
          <a:xfrm>
            <a:off x="13367544" y="4180853"/>
            <a:ext cx="301505" cy="301505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3518678" y="4482359"/>
            <a:ext cx="0" cy="325489"/>
          </a:xfrm>
          <a:prstGeom prst="line">
            <a:avLst/>
          </a:prstGeom>
          <a:ln w="28575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Овал 60"/>
          <p:cNvSpPr/>
          <p:nvPr/>
        </p:nvSpPr>
        <p:spPr>
          <a:xfrm>
            <a:off x="13473755" y="4287065"/>
            <a:ext cx="89082" cy="89082"/>
          </a:xfrm>
          <a:prstGeom prst="ellipse">
            <a:avLst/>
          </a:prstGeom>
          <a:solidFill>
            <a:srgbClr val="005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62" name="Овал 61"/>
          <p:cNvSpPr/>
          <p:nvPr/>
        </p:nvSpPr>
        <p:spPr>
          <a:xfrm>
            <a:off x="12922561" y="4807848"/>
            <a:ext cx="1189176" cy="1189177"/>
          </a:xfrm>
          <a:prstGeom prst="ellipse">
            <a:avLst/>
          </a:prstGeom>
          <a:solidFill>
            <a:schemeClr val="bg1"/>
          </a:solidFill>
          <a:ln w="28575" cap="rnd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93">
              <a:latin typeface="Cera CY" panose="00000500000000000000" pitchFamily="2" charset="-52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2295335" y="3588990"/>
            <a:ext cx="2293412" cy="484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548" b="1" dirty="0" smtClean="0">
                <a:solidFill>
                  <a:srgbClr val="90167F"/>
                </a:solidFill>
                <a:latin typeface="Cera CY" panose="00000500000000000000" pitchFamily="2" charset="-52"/>
              </a:rPr>
              <a:t>2023</a:t>
            </a:r>
            <a:endParaRPr lang="ru-RU" sz="2548" b="1" dirty="0">
              <a:solidFill>
                <a:srgbClr val="90167F"/>
              </a:solidFill>
              <a:latin typeface="Cera CY" panose="00000500000000000000" pitchFamily="2" charset="-52"/>
            </a:endParaRPr>
          </a:p>
        </p:txBody>
      </p:sp>
      <p:sp>
        <p:nvSpPr>
          <p:cNvPr id="64" name="object 15"/>
          <p:cNvSpPr>
            <a:spLocks noChangeAspect="1"/>
          </p:cNvSpPr>
          <p:nvPr/>
        </p:nvSpPr>
        <p:spPr>
          <a:xfrm>
            <a:off x="13171649" y="5058467"/>
            <a:ext cx="687938" cy="687938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93" dirty="0">
              <a:latin typeface="Cera CY" panose="00000500000000000000" pitchFamily="2" charset="-52"/>
            </a:endParaRPr>
          </a:p>
        </p:txBody>
      </p:sp>
      <p:sp>
        <p:nvSpPr>
          <p:cNvPr id="65" name="TextBox 64"/>
          <p:cNvSpPr txBox="1"/>
          <p:nvPr/>
        </p:nvSpPr>
        <p:spPr>
          <a:xfrm flipH="1">
            <a:off x="11903555" y="2281071"/>
            <a:ext cx="3076972" cy="739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sz="1400" b="1" dirty="0" smtClean="0">
                <a:solidFill>
                  <a:srgbClr val="90167F"/>
                </a:solidFill>
                <a:latin typeface="Cera CY" panose="00000500000000000000" pitchFamily="2" charset="-52"/>
              </a:rPr>
              <a:t>На повестке</a:t>
            </a:r>
            <a:r>
              <a:rPr lang="ru-RU" sz="1401" b="1" dirty="0" smtClean="0">
                <a:solidFill>
                  <a:srgbClr val="90167F"/>
                </a:solidFill>
                <a:latin typeface="Cera CY" panose="00000500000000000000" pitchFamily="2" charset="-52"/>
                <a:cs typeface="Calibri" panose="020F0502020204030204" pitchFamily="34" charset="0"/>
              </a:rPr>
              <a:t>:</a:t>
            </a:r>
          </a:p>
          <a:p>
            <a:pPr lvl="0" algn="ctr"/>
            <a:r>
              <a:rPr lang="ru-RU" sz="1401" b="1" dirty="0" err="1" smtClean="0">
                <a:solidFill>
                  <a:srgbClr val="90167F"/>
                </a:solidFill>
                <a:latin typeface="Cera CY" panose="00000500000000000000" pitchFamily="2" charset="-52"/>
                <a:cs typeface="Calibri" panose="020F0502020204030204" pitchFamily="34" charset="0"/>
              </a:rPr>
              <a:t>казначейско</a:t>
            </a:r>
            <a:r>
              <a:rPr lang="ru-RU" sz="1401" b="1" dirty="0" smtClean="0">
                <a:solidFill>
                  <a:srgbClr val="90167F"/>
                </a:solidFill>
                <a:latin typeface="Cera CY" panose="00000500000000000000" pitchFamily="2" charset="-52"/>
                <a:cs typeface="Calibri" panose="020F0502020204030204" pitchFamily="34" charset="0"/>
              </a:rPr>
              <a:t>-банковское  сопровождение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77443" y="6876342"/>
            <a:ext cx="13721889" cy="1215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b="1" dirty="0">
                <a:solidFill>
                  <a:srgbClr val="90167F"/>
                </a:solidFill>
                <a:latin typeface="Cera CY" panose="00000500000000000000" pitchFamily="2" charset="-52"/>
              </a:rPr>
              <a:t>Основание для расширения практики применения банковского сопровождения</a:t>
            </a:r>
          </a:p>
          <a:p>
            <a:pPr algn="just"/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Распоряжением Правительства РФ от 31 января 2019 г. № 117-р «Об утверждении Концепции повышения эффективности бюджетных расходов в 2019-2024 гг.» региональным органам исполнительной власти, в том числе рекомендовано </a:t>
            </a:r>
            <a:r>
              <a:rPr lang="ru-RU" sz="1600" b="1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обеспечить расширение практики применения банковского сопровождения</a:t>
            </a:r>
          </a:p>
        </p:txBody>
      </p:sp>
    </p:spTree>
    <p:extLst>
      <p:ext uri="{BB962C8B-B14F-4D97-AF65-F5344CB8AC3E}">
        <p14:creationId xmlns:p14="http://schemas.microsoft.com/office/powerpoint/2010/main" val="3453367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2004459"/>
              </p:ext>
            </p:extLst>
          </p:nvPr>
        </p:nvGraphicFramePr>
        <p:xfrm>
          <a:off x="13562" y="8332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562" y="8332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Cera CY" panose="00000500000000000000" pitchFamily="50" charset="-52"/>
              <a:ea typeface="Stem Medium" panose="020B0603020203020204" pitchFamily="34" charset="-52"/>
              <a:cs typeface="+mj-cs"/>
              <a:sym typeface="Cera CY" panose="00000500000000000000" pitchFamily="50" charset="-52"/>
            </a:endParaRPr>
          </a:p>
        </p:txBody>
      </p:sp>
      <p:sp>
        <p:nvSpPr>
          <p:cNvPr id="3" name="Прямоугольник 2" hidden="1"/>
          <p:cNvSpPr/>
          <p:nvPr>
            <p:custDataLst>
              <p:tags r:id="rId4"/>
            </p:custDataLst>
          </p:nvPr>
        </p:nvSpPr>
        <p:spPr>
          <a:xfrm>
            <a:off x="11977" y="6747"/>
            <a:ext cx="158505" cy="1585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96" b="1" dirty="0">
              <a:latin typeface="Cera CY" panose="00000500000000000000" pitchFamily="50" charset="-52"/>
              <a:ea typeface="Stem Medium" panose="020B0603020203020204" pitchFamily="34" charset="-52"/>
              <a:cs typeface="+mj-cs"/>
              <a:sym typeface="Cera CY" panose="00000500000000000000" pitchFamily="50" charset="-52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1323877" y="565909"/>
            <a:ext cx="13570949" cy="509216"/>
          </a:xfrm>
        </p:spPr>
        <p:txBody>
          <a:bodyPr vert="horz">
            <a:noAutofit/>
          </a:bodyPr>
          <a:lstStyle/>
          <a:p>
            <a:r>
              <a:rPr lang="ru-RU" sz="2400" b="1" dirty="0" smtClean="0">
                <a:solidFill>
                  <a:srgbClr val="0070C0"/>
                </a:solidFill>
                <a:latin typeface="Cera CY" panose="00000500000000000000" pitchFamily="2" charset="-52"/>
              </a:rPr>
              <a:t>ЭТАПЫ ОТБОРА БАНКА</a:t>
            </a:r>
            <a:endParaRPr lang="ru-RU" sz="2400" b="1" dirty="0">
              <a:solidFill>
                <a:srgbClr val="0070C0"/>
              </a:solidFill>
              <a:latin typeface="Cera CY" panose="00000500000000000000" pitchFamily="2" charset="-52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14399332" y="8184392"/>
            <a:ext cx="694723" cy="559161"/>
          </a:xfrm>
        </p:spPr>
        <p:txBody>
          <a:bodyPr/>
          <a:lstStyle/>
          <a:p>
            <a:r>
              <a:rPr lang="ru-RU" sz="2097" dirty="0" smtClean="0">
                <a:solidFill>
                  <a:srgbClr val="006AB4"/>
                </a:solidFill>
                <a:latin typeface="Cera CY" panose="00000500000000000000" pitchFamily="2" charset="-52"/>
              </a:rPr>
              <a:t>3</a:t>
            </a:r>
            <a:endParaRPr lang="ru-RU" sz="2097" dirty="0">
              <a:solidFill>
                <a:srgbClr val="006AB4"/>
              </a:solidFill>
              <a:latin typeface="Cera CY" panose="00000500000000000000" pitchFamily="2" charset="-52"/>
            </a:endParaRPr>
          </a:p>
        </p:txBody>
      </p:sp>
      <p:sp>
        <p:nvSpPr>
          <p:cNvPr id="67" name="TextBox 84"/>
          <p:cNvSpPr txBox="1"/>
          <p:nvPr/>
        </p:nvSpPr>
        <p:spPr>
          <a:xfrm>
            <a:off x="1722236" y="2230301"/>
            <a:ext cx="4755580" cy="28623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marL="179999" indent="-179999">
              <a:spcBef>
                <a:spcPts val="1200"/>
              </a:spcBef>
              <a:buClr>
                <a:schemeClr val="accent2">
                  <a:lumOff val="-8627"/>
                </a:schemeClr>
              </a:buClr>
              <a:buSzPct val="100000"/>
              <a:buFont typeface="Arial"/>
              <a:buChar char="•"/>
              <a:defRPr sz="1400"/>
            </a:pP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решением уполномоченного органа власти определяется перечень объектов капстроительства для оказания услуг банковского сопровождения</a:t>
            </a:r>
          </a:p>
          <a:p>
            <a:pPr marL="179999" indent="-179999">
              <a:spcBef>
                <a:spcPts val="1200"/>
              </a:spcBef>
              <a:buClr>
                <a:schemeClr val="accent2">
                  <a:lumOff val="-8627"/>
                </a:schemeClr>
              </a:buClr>
              <a:buSzPct val="100000"/>
              <a:buFont typeface="Arial"/>
              <a:buChar char="•"/>
              <a:defRPr sz="1400"/>
            </a:pP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наличие разработанной проектной документации с заключениями </a:t>
            </a:r>
            <a:r>
              <a:rPr lang="ru-RU" sz="1600" dirty="0" err="1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госэкспертизы</a:t>
            </a: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 не обязательно</a:t>
            </a:r>
          </a:p>
          <a:p>
            <a:pPr marL="179999" indent="-179999">
              <a:spcBef>
                <a:spcPts val="1200"/>
              </a:spcBef>
              <a:buClr>
                <a:schemeClr val="accent2">
                  <a:lumOff val="-8627"/>
                </a:schemeClr>
              </a:buClr>
              <a:buSzPct val="100000"/>
              <a:buFont typeface="Arial"/>
              <a:buChar char="•"/>
              <a:defRPr sz="1400"/>
            </a:pP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возможно направить все контракты отдельного </a:t>
            </a:r>
            <a:r>
              <a:rPr lang="ru-RU" sz="1600" dirty="0" err="1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госзаказчика</a:t>
            </a: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 на банковское сопровождение</a:t>
            </a:r>
            <a:endParaRPr sz="1600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TextBox 84"/>
          <p:cNvSpPr txBox="1"/>
          <p:nvPr/>
        </p:nvSpPr>
        <p:spPr>
          <a:xfrm>
            <a:off x="8756755" y="2230301"/>
            <a:ext cx="4755580" cy="26161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marL="179999" indent="-179999">
              <a:spcBef>
                <a:spcPts val="1200"/>
              </a:spcBef>
              <a:buClr>
                <a:schemeClr val="accent2">
                  <a:lumOff val="-8627"/>
                </a:schemeClr>
              </a:buClr>
              <a:buSzPct val="100000"/>
              <a:buFont typeface="Arial"/>
              <a:buChar char="•"/>
              <a:defRPr sz="1400"/>
            </a:pP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запрос коммерческих предложений от банков</a:t>
            </a:r>
          </a:p>
          <a:p>
            <a:pPr marL="179999" indent="-179999">
              <a:spcBef>
                <a:spcPts val="1200"/>
              </a:spcBef>
              <a:buClr>
                <a:schemeClr val="accent2">
                  <a:lumOff val="-8627"/>
                </a:schemeClr>
              </a:buClr>
              <a:buSzPct val="100000"/>
              <a:buFont typeface="Arial"/>
              <a:buChar char="•"/>
              <a:defRPr sz="1400"/>
            </a:pP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тоимость в 1 рубль может быть определена на основании доведенных лимитов бюджетных обязательств (ч. 2 ст. 72 Бюджетного кодекса РФ, письмо Минфина России от 08.09.2017 № 24-01- 09/58179)</a:t>
            </a:r>
          </a:p>
          <a:p>
            <a:pPr marL="179999" indent="-179999">
              <a:spcBef>
                <a:spcPts val="1200"/>
              </a:spcBef>
              <a:buClr>
                <a:schemeClr val="accent2">
                  <a:lumOff val="-8627"/>
                </a:schemeClr>
              </a:buClr>
              <a:buSzPct val="100000"/>
              <a:buFont typeface="Arial"/>
              <a:buChar char="•"/>
              <a:defRPr sz="1400"/>
            </a:pP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мониторинг всегда бесплатный и требования 44-ФЗ не применяются</a:t>
            </a:r>
          </a:p>
        </p:txBody>
      </p:sp>
      <p:sp>
        <p:nvSpPr>
          <p:cNvPr id="73" name="TextBox 84"/>
          <p:cNvSpPr txBox="1"/>
          <p:nvPr/>
        </p:nvSpPr>
        <p:spPr>
          <a:xfrm>
            <a:off x="1722236" y="5861670"/>
            <a:ext cx="4755580" cy="21236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marL="179999" indent="-179999">
              <a:spcBef>
                <a:spcPts val="1200"/>
              </a:spcBef>
              <a:buClr>
                <a:schemeClr val="accent2">
                  <a:lumOff val="-8627"/>
                </a:schemeClr>
              </a:buClr>
              <a:buSzPct val="100000"/>
              <a:buFont typeface="Arial"/>
              <a:buChar char="•"/>
              <a:defRPr sz="1400"/>
            </a:pP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роведение </a:t>
            </a: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конкурсных процедур</a:t>
            </a:r>
            <a:endParaRPr lang="ru-RU" sz="1600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9999" indent="-179999">
              <a:spcBef>
                <a:spcPts val="1200"/>
              </a:spcBef>
              <a:buClr>
                <a:schemeClr val="accent2">
                  <a:lumOff val="-8627"/>
                </a:schemeClr>
              </a:buClr>
              <a:buSzPct val="100000"/>
              <a:buFont typeface="Arial"/>
              <a:buChar char="•"/>
              <a:defRPr sz="1400"/>
            </a:pP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альтернативно возможно заключение госконтракта с единственным поставщиком (п. 4 ст. 93 Федерального закона от 05.04.2013 № 44-ФЗ)</a:t>
            </a:r>
          </a:p>
          <a:p>
            <a:pPr marL="179999" indent="-179999">
              <a:spcBef>
                <a:spcPts val="1200"/>
              </a:spcBef>
              <a:buClr>
                <a:schemeClr val="accent2">
                  <a:lumOff val="-8627"/>
                </a:schemeClr>
              </a:buClr>
              <a:buSzPct val="100000"/>
              <a:buFont typeface="Arial"/>
              <a:buChar char="•"/>
              <a:defRPr sz="1400"/>
            </a:pP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в проект контракта включается перечень объектов, определенный регионом</a:t>
            </a:r>
            <a:endParaRPr sz="1600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6" name="TextBox 84"/>
          <p:cNvSpPr txBox="1"/>
          <p:nvPr/>
        </p:nvSpPr>
        <p:spPr>
          <a:xfrm>
            <a:off x="8756755" y="5861670"/>
            <a:ext cx="4755580" cy="20621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marL="179999" indent="-179999">
              <a:spcBef>
                <a:spcPts val="1200"/>
              </a:spcBef>
              <a:buClr>
                <a:schemeClr val="accent2">
                  <a:lumOff val="-8627"/>
                </a:schemeClr>
              </a:buClr>
              <a:buSzPct val="100000"/>
              <a:buFont typeface="Arial"/>
              <a:buChar char="•"/>
              <a:defRPr sz="1400"/>
            </a:pP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в проекте госконтракта на объект капстроительства в раздел «Банковское сопровождение» включается строка «Привлекаемый заказчиком банк в целях проведения расширенного банковского сопровождения\мониторинга расчетов в рамках исполнения контракта - (наименование банка)» </a:t>
            </a:r>
            <a:endParaRPr sz="1600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722235" y="1625002"/>
            <a:ext cx="5604839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 algn="ctr" defTabSz="912912">
              <a:spcBef>
                <a:spcPts val="599"/>
              </a:spcBef>
              <a:spcAft>
                <a:spcPts val="599"/>
              </a:spcAft>
            </a:pPr>
            <a:r>
              <a:rPr lang="ru-RU" sz="2200" b="1" dirty="0">
                <a:solidFill>
                  <a:srgbClr val="800769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Определение перечня объектов для БС</a:t>
            </a:r>
            <a:endParaRPr sz="2200" b="1" dirty="0">
              <a:solidFill>
                <a:srgbClr val="800769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743466" y="5263085"/>
            <a:ext cx="5866096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defPPr>
              <a:defRPr lang="ru-RU"/>
            </a:defPPr>
            <a:lvl1pPr defTabSz="912912">
              <a:spcBef>
                <a:spcPts val="599"/>
              </a:spcBef>
              <a:spcAft>
                <a:spcPts val="599"/>
              </a:spcAft>
              <a:defRPr sz="2200" b="1">
                <a:solidFill>
                  <a:srgbClr val="800769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Отбор банка и заключение госконтракта</a:t>
            </a:r>
            <a:endParaRPr dirty="0"/>
          </a:p>
        </p:txBody>
      </p:sp>
      <p:sp>
        <p:nvSpPr>
          <p:cNvPr id="80" name="TextBox 79"/>
          <p:cNvSpPr txBox="1"/>
          <p:nvPr/>
        </p:nvSpPr>
        <p:spPr>
          <a:xfrm>
            <a:off x="8813671" y="5277276"/>
            <a:ext cx="5933022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defPPr>
              <a:defRPr lang="ru-RU"/>
            </a:defPPr>
            <a:lvl1pPr defTabSz="912912">
              <a:spcBef>
                <a:spcPts val="599"/>
              </a:spcBef>
              <a:spcAft>
                <a:spcPts val="599"/>
              </a:spcAft>
              <a:defRPr sz="2200" b="1">
                <a:solidFill>
                  <a:srgbClr val="800769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Формирование раздела госконтракта</a:t>
            </a:r>
            <a:endParaRPr dirty="0"/>
          </a:p>
        </p:txBody>
      </p:sp>
      <p:sp>
        <p:nvSpPr>
          <p:cNvPr id="81" name="TextBox 80"/>
          <p:cNvSpPr txBox="1"/>
          <p:nvPr/>
        </p:nvSpPr>
        <p:spPr>
          <a:xfrm>
            <a:off x="8745466" y="1625002"/>
            <a:ext cx="4955084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defPPr>
              <a:defRPr lang="ru-RU"/>
            </a:defPPr>
            <a:lvl1pPr algn="ctr" defTabSz="912912">
              <a:spcBef>
                <a:spcPts val="599"/>
              </a:spcBef>
              <a:spcAft>
                <a:spcPts val="599"/>
              </a:spcAft>
              <a:defRPr sz="2200" b="1">
                <a:solidFill>
                  <a:srgbClr val="800769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ru-RU" dirty="0"/>
              <a:t>Определение стоимости БС</a:t>
            </a:r>
            <a:endParaRPr dirty="0"/>
          </a:p>
        </p:txBody>
      </p:sp>
      <p:sp>
        <p:nvSpPr>
          <p:cNvPr id="82" name="TextBox 81"/>
          <p:cNvSpPr txBox="1"/>
          <p:nvPr/>
        </p:nvSpPr>
        <p:spPr>
          <a:xfrm>
            <a:off x="607563" y="1199329"/>
            <a:ext cx="101123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800" dirty="0" smtClean="0">
                <a:solidFill>
                  <a:srgbClr val="003366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en-US" sz="8800" dirty="0">
              <a:solidFill>
                <a:srgbClr val="003366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7734229" y="1199329"/>
            <a:ext cx="101123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800" dirty="0" smtClean="0">
                <a:solidFill>
                  <a:srgbClr val="003366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en-US" sz="8800" dirty="0">
              <a:solidFill>
                <a:srgbClr val="003366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607563" y="4886340"/>
            <a:ext cx="101123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800" dirty="0" smtClean="0">
                <a:solidFill>
                  <a:srgbClr val="003366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en-US" sz="8800" dirty="0">
              <a:solidFill>
                <a:srgbClr val="003366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734229" y="4886340"/>
            <a:ext cx="101123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800" dirty="0" smtClean="0">
                <a:solidFill>
                  <a:srgbClr val="003366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lang="en-US" sz="8800" dirty="0">
              <a:solidFill>
                <a:srgbClr val="003366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857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791094"/>
              </p:ext>
            </p:extLst>
          </p:nvPr>
        </p:nvGraphicFramePr>
        <p:xfrm>
          <a:off x="13562" y="833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62" y="833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1980" y="6750"/>
            <a:ext cx="158505" cy="1585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2912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794" b="1" dirty="0">
              <a:solidFill>
                <a:srgbClr val="FFFFFF"/>
              </a:solidFill>
              <a:latin typeface="Cera CY" panose="00000500000000000000" pitchFamily="50" charset="-52"/>
              <a:ea typeface="Stem Medium" panose="020B0603020203020204" pitchFamily="34" charset="-52"/>
              <a:sym typeface="Cera CY" panose="00000500000000000000" pitchFamily="50" charset="-52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2486" y="597218"/>
            <a:ext cx="13948638" cy="509217"/>
          </a:xfrm>
        </p:spPr>
        <p:txBody>
          <a:bodyPr vert="horz" lIns="0" tIns="0" rIns="91440" bIns="45719" rtlCol="0" anchor="t">
            <a:noAutofit/>
          </a:bodyPr>
          <a:lstStyle/>
          <a:p>
            <a:r>
              <a:rPr lang="ru-RU" altLang="ru-RU" sz="2400" b="1" cap="all" dirty="0" smtClean="0">
                <a:solidFill>
                  <a:srgbClr val="006AB4"/>
                </a:solidFill>
                <a:latin typeface="Cera CY" panose="00000500000000000000" pitchFamily="2" charset="-52"/>
                <a:cs typeface="Tahoma" panose="020B0604030504040204" pitchFamily="34" charset="0"/>
                <a:sym typeface="Lucida Grande"/>
              </a:rPr>
              <a:t>ВАРИАНТЫ ОТБОРА БАНКА</a:t>
            </a:r>
            <a:endParaRPr lang="ru-RU" sz="2400" b="1" cap="all" dirty="0">
              <a:solidFill>
                <a:srgbClr val="006AB4"/>
              </a:solidFill>
              <a:latin typeface="Cera CY" panose="00000500000000000000" pitchFamily="2" charset="-52"/>
              <a:cs typeface="Tahom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801695" y="2239244"/>
            <a:ext cx="5604278" cy="2138607"/>
          </a:xfrm>
          <a:prstGeom prst="rect">
            <a:avLst/>
          </a:prstGeom>
        </p:spPr>
        <p:txBody>
          <a:bodyPr wrap="square" lIns="106243" tIns="53122" rIns="106243" bIns="53122">
            <a:spAutoFit/>
          </a:bodyPr>
          <a:lstStyle/>
          <a:p>
            <a:pPr defTabSz="912912">
              <a:spcBef>
                <a:spcPts val="300"/>
              </a:spcBef>
              <a:spcAft>
                <a:spcPts val="300"/>
              </a:spcAft>
            </a:pPr>
            <a:endParaRPr lang="ru-RU" sz="1600" b="1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31986" indent="-331986" defTabSz="912912">
              <a:spcBef>
                <a:spcPts val="300"/>
              </a:spcBef>
              <a:spcAft>
                <a:spcPts val="300"/>
              </a:spcAft>
              <a:buClr>
                <a:srgbClr val="8B0867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Легитимность метода отбора</a:t>
            </a:r>
            <a:endParaRPr lang="ru-RU" sz="1600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31986" indent="-331986" defTabSz="912912">
              <a:spcBef>
                <a:spcPts val="300"/>
              </a:spcBef>
              <a:spcAft>
                <a:spcPts val="300"/>
              </a:spcAft>
              <a:buClr>
                <a:srgbClr val="8B0867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Отсутствие риска допустить «некомпетентного</a:t>
            </a: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» исполнителя</a:t>
            </a:r>
          </a:p>
          <a:p>
            <a:pPr marL="331986" indent="-331986" defTabSz="912912">
              <a:spcBef>
                <a:spcPts val="300"/>
              </a:spcBef>
              <a:spcAft>
                <a:spcPts val="300"/>
              </a:spcAft>
              <a:buClr>
                <a:srgbClr val="8B0867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Банк </a:t>
            </a: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оказывает процедуру бесплатно (1 рубль) </a:t>
            </a:r>
            <a:endParaRPr lang="ru-RU" sz="1600" dirty="0" smtClean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31986" indent="-331986" defTabSz="912912">
              <a:spcBef>
                <a:spcPts val="300"/>
              </a:spcBef>
              <a:spcAft>
                <a:spcPts val="300"/>
              </a:spcAft>
              <a:buClr>
                <a:srgbClr val="8B0867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Заказчик не тратит </a:t>
            </a: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лимит </a:t>
            </a: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о торгам в рамках 600 </a:t>
            </a: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тысяч рублей</a:t>
            </a:r>
          </a:p>
        </p:txBody>
      </p:sp>
      <p:sp>
        <p:nvSpPr>
          <p:cNvPr id="17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14399333" y="8191140"/>
            <a:ext cx="694723" cy="559160"/>
          </a:xfrm>
        </p:spPr>
        <p:txBody>
          <a:bodyPr/>
          <a:lstStyle/>
          <a:p>
            <a:pPr defTabSz="912912"/>
            <a:r>
              <a:rPr lang="ru-RU" sz="1797" dirty="0">
                <a:solidFill>
                  <a:srgbClr val="006AB4"/>
                </a:solidFill>
                <a:latin typeface="Cera CY" panose="00000500000000000000" pitchFamily="2" charset="-52"/>
              </a:rPr>
              <a:t>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185608" y="2545229"/>
            <a:ext cx="123702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2912">
              <a:spcBef>
                <a:spcPts val="599"/>
              </a:spcBef>
              <a:spcAft>
                <a:spcPts val="599"/>
              </a:spcAft>
            </a:pPr>
            <a:r>
              <a:rPr lang="ru-RU" b="1" dirty="0">
                <a:solidFill>
                  <a:srgbClr val="800769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Осуществление закупки у единственного </a:t>
            </a:r>
            <a:r>
              <a:rPr lang="ru-RU" b="1" dirty="0" smtClean="0">
                <a:solidFill>
                  <a:srgbClr val="800769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оставщика</a:t>
            </a:r>
            <a:endParaRPr lang="ru-RU" b="1" dirty="0">
              <a:solidFill>
                <a:srgbClr val="800769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85608" y="3023525"/>
            <a:ext cx="658044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2912">
              <a:spcBef>
                <a:spcPts val="599"/>
              </a:spcBef>
              <a:spcAft>
                <a:spcPts val="599"/>
              </a:spcAft>
            </a:pPr>
            <a:r>
              <a:rPr lang="ru-RU" sz="1600" b="1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ч</a:t>
            </a:r>
            <a:r>
              <a:rPr lang="ru-RU" sz="1600" b="1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. 1 п. 4 ст. 93 </a:t>
            </a:r>
            <a:r>
              <a:rPr lang="en-US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en-US" sz="1600" b="1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600" b="1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44-</a:t>
            </a:r>
            <a:r>
              <a:rPr lang="ru-RU" sz="1600" b="1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ФЗ </a:t>
            </a: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Осуществление </a:t>
            </a: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закупки товара, работы или услуги </a:t>
            </a: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у единственного поставщика (исполнителя) на </a:t>
            </a: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умму, не превышающую </a:t>
            </a:r>
            <a:r>
              <a:rPr lang="ru-RU" sz="1600" b="1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600 </a:t>
            </a:r>
            <a:r>
              <a:rPr lang="ru-RU" sz="1600" b="1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тысяч </a:t>
            </a:r>
            <a:r>
              <a:rPr lang="ru-RU" sz="1600" b="1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рублей</a:t>
            </a:r>
            <a:endParaRPr lang="ru-RU" sz="1600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48994" y="4633919"/>
            <a:ext cx="13103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2912">
              <a:spcBef>
                <a:spcPts val="599"/>
              </a:spcBef>
              <a:spcAft>
                <a:spcPts val="599"/>
              </a:spcAft>
            </a:pPr>
            <a:r>
              <a:rPr lang="ru-RU" b="1" dirty="0" smtClean="0">
                <a:solidFill>
                  <a:srgbClr val="800769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роведение запроса котировок</a:t>
            </a:r>
            <a:endParaRPr lang="ru-RU" b="1" dirty="0">
              <a:solidFill>
                <a:srgbClr val="800769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140779" y="5083002"/>
            <a:ext cx="662527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2912">
              <a:spcBef>
                <a:spcPts val="599"/>
              </a:spcBef>
              <a:spcAft>
                <a:spcPts val="599"/>
              </a:spcAft>
            </a:pPr>
            <a:r>
              <a:rPr lang="ru-RU" sz="1600" b="1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sz="1600" b="1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т. 50 </a:t>
            </a:r>
            <a:r>
              <a:rPr lang="en-US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en-US" sz="1600" b="1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 44-</a:t>
            </a:r>
            <a:r>
              <a:rPr lang="ru-RU" sz="1600" b="1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ФЗ </a:t>
            </a: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роцедура отбора Банка путём размещения извещения для </a:t>
            </a: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неограниченного круга лиц, </a:t>
            </a: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в которой победителем признаётся Исполнитель, соответствующий заявленным требованиям и предложивший наименьшую цену</a:t>
            </a:r>
            <a:endParaRPr lang="ru-RU" sz="1600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766381" y="4758864"/>
            <a:ext cx="5895103" cy="1478426"/>
          </a:xfrm>
          <a:prstGeom prst="rect">
            <a:avLst/>
          </a:prstGeom>
        </p:spPr>
        <p:txBody>
          <a:bodyPr wrap="square" lIns="106243" tIns="53122" rIns="106243" bIns="53122">
            <a:spAutoFit/>
          </a:bodyPr>
          <a:lstStyle/>
          <a:p>
            <a:pPr defTabSz="912912">
              <a:lnSpc>
                <a:spcPct val="110000"/>
              </a:lnSpc>
            </a:pPr>
            <a:endParaRPr lang="ru-RU" sz="1600" b="1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31986" indent="-331986" defTabSz="912912">
              <a:spcBef>
                <a:spcPts val="300"/>
              </a:spcBef>
              <a:spcAft>
                <a:spcPts val="300"/>
              </a:spcAft>
              <a:buClr>
                <a:srgbClr val="8B0867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Более сложная и длительная по организации процедура в сравнении с закупкой у единственного поставщика</a:t>
            </a:r>
            <a:endParaRPr lang="ru-RU" sz="1600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31986" indent="-331986" defTabSz="912912">
              <a:spcBef>
                <a:spcPts val="300"/>
              </a:spcBef>
              <a:spcAft>
                <a:spcPts val="300"/>
              </a:spcAft>
              <a:buClr>
                <a:srgbClr val="8B0867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В 90% случаев участвует только один Банк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163068" y="6655410"/>
            <a:ext cx="13103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2912">
              <a:spcBef>
                <a:spcPts val="599"/>
              </a:spcBef>
              <a:spcAft>
                <a:spcPts val="599"/>
              </a:spcAft>
            </a:pPr>
            <a:r>
              <a:rPr lang="ru-RU" b="1" dirty="0" smtClean="0">
                <a:solidFill>
                  <a:srgbClr val="800769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роведение электронного аукциона</a:t>
            </a:r>
            <a:endParaRPr lang="ru-RU" b="1" dirty="0">
              <a:solidFill>
                <a:srgbClr val="800769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38155" y="7141141"/>
            <a:ext cx="662789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2912">
              <a:spcBef>
                <a:spcPts val="599"/>
              </a:spcBef>
              <a:spcAft>
                <a:spcPts val="599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т. 49 </a:t>
            </a:r>
            <a:r>
              <a:rPr lang="en-US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en-US" sz="1600" b="1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 44-</a:t>
            </a:r>
            <a:r>
              <a:rPr lang="ru-RU" sz="1600" b="1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ФЗ </a:t>
            </a: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Электронный аукцион начинается с размещения в единой информационной системе извещения об осуществлении закупки. Заявка на участие в закупке должна содержать </a:t>
            </a: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информацию </a:t>
            </a: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и документы, </a:t>
            </a: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редусмотренные законодательством</a:t>
            </a:r>
            <a:endParaRPr lang="ru-RU" sz="1600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8801695" y="6758086"/>
            <a:ext cx="5604278" cy="1232205"/>
          </a:xfrm>
          <a:prstGeom prst="rect">
            <a:avLst/>
          </a:prstGeom>
        </p:spPr>
        <p:txBody>
          <a:bodyPr wrap="square" lIns="106243" tIns="53122" rIns="106243" bIns="53122">
            <a:spAutoFit/>
          </a:bodyPr>
          <a:lstStyle/>
          <a:p>
            <a:pPr defTabSz="912912">
              <a:lnSpc>
                <a:spcPct val="110000"/>
              </a:lnSpc>
            </a:pPr>
            <a:endParaRPr lang="ru-RU" sz="1600" b="1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31986" indent="-331986" defTabSz="912912">
              <a:spcBef>
                <a:spcPts val="300"/>
              </a:spcBef>
              <a:spcAft>
                <a:spcPts val="300"/>
              </a:spcAft>
              <a:buClr>
                <a:srgbClr val="8B0867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амая длительная процедура отбора</a:t>
            </a:r>
            <a:endParaRPr lang="ru-RU" sz="1600" dirty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31986" indent="-331986" defTabSz="912912">
              <a:spcBef>
                <a:spcPts val="300"/>
              </a:spcBef>
              <a:spcAft>
                <a:spcPts val="300"/>
              </a:spcAft>
              <a:buClr>
                <a:srgbClr val="8B0867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Требование тщательной подготовки расширенного перечня аукционной </a:t>
            </a:r>
            <a:r>
              <a:rPr lang="ru-RU" sz="16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документации </a:t>
            </a:r>
            <a:endParaRPr lang="ru-RU" sz="1600" dirty="0" smtClean="0">
              <a:solidFill>
                <a:srgbClr val="00206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1170530" y="1357748"/>
            <a:ext cx="13236265" cy="684856"/>
          </a:xfrm>
          <a:prstGeom prst="round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912"/>
            <a:endParaRPr lang="ru-RU" sz="1797">
              <a:solidFill>
                <a:srgbClr val="FFFFFF"/>
              </a:solidFill>
              <a:latin typeface="Cera CY" panose="00000500000000000000" pitchFamily="2" charset="-52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235379" y="1392400"/>
            <a:ext cx="1110656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2912"/>
            <a:r>
              <a:rPr lang="ru-RU" sz="17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Федеральный закон от </a:t>
            </a:r>
            <a:r>
              <a:rPr lang="ru-RU" sz="17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05.04.2013 N </a:t>
            </a:r>
            <a:r>
              <a:rPr lang="ru-RU" sz="1700" b="1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44-ФЗ </a:t>
            </a:r>
            <a:r>
              <a:rPr lang="ru-RU" sz="1700" dirty="0" smtClean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"</a:t>
            </a:r>
            <a:r>
              <a:rPr lang="ru-RU" sz="1700" dirty="0">
                <a:solidFill>
                  <a:srgbClr val="00206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О контрактной системе в сфере закупок товаров, работ, услуг для обеспечения государственных и муниципальных нужд"</a:t>
            </a:r>
          </a:p>
        </p:txBody>
      </p:sp>
      <p:sp>
        <p:nvSpPr>
          <p:cNvPr id="19" name="Номер слайда 8"/>
          <p:cNvSpPr txBox="1">
            <a:spLocks/>
          </p:cNvSpPr>
          <p:nvPr/>
        </p:nvSpPr>
        <p:spPr>
          <a:xfrm>
            <a:off x="14409577" y="8190276"/>
            <a:ext cx="695795" cy="560024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ru-RU"/>
            </a:defPPr>
            <a:lvl1pPr marL="0" algn="ctr" defTabSz="914400" rtl="0" eaLnBrk="1" latinLnBrk="0" hangingPunct="1">
              <a:defRPr sz="1784" kern="1200">
                <a:solidFill>
                  <a:schemeClr val="tx1"/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911" dirty="0" smtClean="0">
                <a:solidFill>
                  <a:srgbClr val="0070C0"/>
                </a:solidFill>
                <a:latin typeface="Cera CY" panose="00000500000000000000" pitchFamily="2" charset="-52"/>
                <a:ea typeface="Tahoma" panose="020B0604030504040204" pitchFamily="34" charset="0"/>
                <a:cs typeface="Times New Roman" panose="02020603050405020304" pitchFamily="18" charset="0"/>
              </a:rPr>
              <a:t>4</a:t>
            </a:r>
            <a:endParaRPr lang="ru-RU" sz="1911" dirty="0">
              <a:solidFill>
                <a:srgbClr val="0070C0"/>
              </a:solidFill>
              <a:latin typeface="Cera CY" panose="00000500000000000000" pitchFamily="2" charset="-52"/>
              <a:ea typeface="Tahoma" panose="020B060403050404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057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743566" y="2705179"/>
            <a:ext cx="595525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6AB4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ВАШИ ИНВЕСТИЦИИ</a:t>
            </a:r>
            <a:br>
              <a:rPr lang="ru-RU" sz="2800" b="1" dirty="0" smtClean="0">
                <a:solidFill>
                  <a:srgbClr val="006AB4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800" b="1" dirty="0" smtClean="0">
                <a:solidFill>
                  <a:srgbClr val="006AB4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В НАДЕЖНЫХ РУКАХ</a:t>
            </a:r>
            <a:endParaRPr lang="ru-RU" sz="2800" b="1" dirty="0">
              <a:solidFill>
                <a:srgbClr val="006AB4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1194" y="0"/>
            <a:ext cx="1452268" cy="17828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72" y="670631"/>
            <a:ext cx="3210629" cy="67972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0503" y="1606378"/>
            <a:ext cx="3064400" cy="3142277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-2" y="4748656"/>
            <a:ext cx="15544098" cy="0"/>
          </a:xfrm>
          <a:prstGeom prst="line">
            <a:avLst/>
          </a:prstGeom>
          <a:ln w="28575">
            <a:solidFill>
              <a:srgbClr val="006A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14569338" y="8146961"/>
            <a:ext cx="3129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rgbClr val="0070C0"/>
                </a:solidFill>
                <a:latin typeface="Cera CY" panose="00000500000000000000" pitchFamily="2" charset="-52"/>
                <a:ea typeface="Tahoma" panose="020B0604030504040204" pitchFamily="34" charset="0"/>
                <a:cs typeface="Times New Roman" panose="02020603050405020304" pitchFamily="18" charset="0"/>
              </a:rPr>
              <a:t>5</a:t>
            </a:r>
            <a:endParaRPr lang="ru-RU" dirty="0">
              <a:solidFill>
                <a:srgbClr val="0070C0"/>
              </a:solidFill>
              <a:latin typeface="Cera CY" panose="00000500000000000000" pitchFamily="2" charset="-52"/>
              <a:ea typeface="Tahom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879600" y="5838025"/>
            <a:ext cx="6286500" cy="1613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Завьялов Михаил Владимирович</a:t>
            </a:r>
            <a:endParaRPr lang="ru-RU" altLang="ru-RU" sz="2000" b="1" dirty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endParaRPr lang="en-US" altLang="ru-RU" sz="2800" dirty="0" smtClean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ru-RU" sz="2000" dirty="0" err="1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Начальник</a:t>
            </a:r>
            <a:r>
              <a:rPr lang="en-US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 </a:t>
            </a:r>
            <a:r>
              <a:rPr lang="ru-RU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Центра нормативной поддержки</a:t>
            </a:r>
            <a:endParaRPr lang="ru-RU" altLang="ru-RU" sz="2000" dirty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endParaRPr lang="ru-RU" altLang="ru-RU" sz="2000" dirty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endParaRPr lang="ru-RU" altLang="ru-RU" sz="2000" dirty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+7 </a:t>
            </a:r>
            <a:r>
              <a:rPr lang="en-US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495 </a:t>
            </a:r>
            <a:r>
              <a:rPr lang="ru-RU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988</a:t>
            </a:r>
            <a:r>
              <a:rPr lang="en-US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 </a:t>
            </a:r>
            <a:r>
              <a:rPr lang="ru-RU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23</a:t>
            </a:r>
            <a:r>
              <a:rPr lang="en-US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 </a:t>
            </a:r>
            <a:r>
              <a:rPr lang="ru-RU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69</a:t>
            </a:r>
            <a:endParaRPr lang="en-US" altLang="ru-RU" sz="2000" dirty="0" smtClean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endParaRPr lang="en-US" altLang="ru-RU" sz="2000" dirty="0" smtClean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endParaRPr lang="ru-RU" altLang="ru-RU" sz="2000" dirty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Mikhail.Zavyalov@gazprombank.ru</a:t>
            </a:r>
            <a:endParaRPr lang="ru-RU" sz="2000" dirty="0">
              <a:solidFill>
                <a:srgbClr val="002060"/>
              </a:solidFill>
              <a:latin typeface="Cera CY" panose="00000500000000000000" pitchFamily="2" charset="-52"/>
            </a:endParaRPr>
          </a:p>
        </p:txBody>
      </p:sp>
      <p:sp>
        <p:nvSpPr>
          <p:cNvPr id="10" name="TextBox 8"/>
          <p:cNvSpPr txBox="1"/>
          <p:nvPr/>
        </p:nvSpPr>
        <p:spPr>
          <a:xfrm>
            <a:off x="7577942" y="5828708"/>
            <a:ext cx="6286500" cy="159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Остащенко Анастасия Андреевна</a:t>
            </a:r>
            <a:endParaRPr lang="ru-RU" altLang="ru-RU" sz="2400" b="1" dirty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endParaRPr lang="en-US" altLang="ru-RU" sz="2800" dirty="0" smtClean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Исполнительный директор</a:t>
            </a: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endParaRPr lang="ru-RU" altLang="ru-RU" sz="2000" dirty="0" smtClean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endParaRPr lang="ru-RU" altLang="ru-RU" sz="2000" dirty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+7 </a:t>
            </a:r>
            <a:r>
              <a:rPr lang="ru-RU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988</a:t>
            </a:r>
            <a:r>
              <a:rPr lang="en-US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 </a:t>
            </a:r>
            <a:r>
              <a:rPr lang="ru-RU" altLang="ru-RU" sz="2000" dirty="0" smtClean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38 00 100</a:t>
            </a:r>
            <a:endParaRPr lang="en-US" altLang="ru-RU" sz="2000" dirty="0" smtClean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endParaRPr lang="ru-RU" altLang="ru-RU" sz="2000" dirty="0" smtClean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endParaRPr lang="en-US" altLang="ru-RU" sz="2000" dirty="0" smtClean="0">
              <a:solidFill>
                <a:srgbClr val="002060"/>
              </a:solidFill>
              <a:latin typeface="Cera CY" panose="00000500000000000000" pitchFamily="2" charset="-52"/>
              <a:cs typeface="Helvetica" pitchFamily="34" charset="0"/>
            </a:endParaRPr>
          </a:p>
          <a:p>
            <a:pPr algn="ctr" fontAlgn="base">
              <a:lnSpc>
                <a:spcPts val="1274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ru-RU" sz="2000" dirty="0">
                <a:solidFill>
                  <a:srgbClr val="002060"/>
                </a:solidFill>
                <a:latin typeface="Cera CY" panose="00000500000000000000" pitchFamily="2" charset="-52"/>
                <a:cs typeface="Helvetica" pitchFamily="34" charset="0"/>
              </a:rPr>
              <a:t>Anastasia.Ostashenko.YuFO@gazprombank.ru</a:t>
            </a:r>
            <a:endParaRPr lang="ru-RU" sz="2000" dirty="0">
              <a:solidFill>
                <a:srgbClr val="002060"/>
              </a:solidFill>
              <a:latin typeface="Cera CY" panose="00000500000000000000" pitchFamily="2" charset="-5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gaqrDRS0uySPVGjbkm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AiD82fRhqGjzxQ6D.i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nmTZhYS2O4iGbGtYf_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7qMPPdhKMuB6DvxFyU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gaqrDRS0uySPVGjbkm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7qMPPdhKMuB6DvxFyU4g"/>
</p:tagLst>
</file>

<file path=ppt/theme/theme1.xml><?xml version="1.0" encoding="utf-8"?>
<a:theme xmlns:a="http://schemas.openxmlformats.org/drawingml/2006/main" name="Тема_квадраты">
  <a:themeElements>
    <a:clrScheme name="GPB Colors">
      <a:dk1>
        <a:srgbClr val="000000"/>
      </a:dk1>
      <a:lt1>
        <a:srgbClr val="FFFFFF"/>
      </a:lt1>
      <a:dk2>
        <a:srgbClr val="00437A"/>
      </a:dk2>
      <a:lt2>
        <a:srgbClr val="FFFFFF"/>
      </a:lt2>
      <a:accent1>
        <a:srgbClr val="3DA9D6"/>
      </a:accent1>
      <a:accent2>
        <a:srgbClr val="2D65AF"/>
      </a:accent2>
      <a:accent3>
        <a:srgbClr val="2D509F"/>
      </a:accent3>
      <a:accent4>
        <a:srgbClr val="094478"/>
      </a:accent4>
      <a:accent5>
        <a:srgbClr val="407BAA"/>
      </a:accent5>
      <a:accent6>
        <a:srgbClr val="00213D"/>
      </a:accent6>
      <a:hlink>
        <a:srgbClr val="0563C1"/>
      </a:hlink>
      <a:folHlink>
        <a:srgbClr val="954F72"/>
      </a:folHlink>
    </a:clrScheme>
    <a:fontScheme name="GPB Fonts">
      <a:majorFont>
        <a:latin typeface="Stem Medium"/>
        <a:ea typeface=""/>
        <a:cs typeface=""/>
      </a:majorFont>
      <a:minorFont>
        <a:latin typeface="Bliss Pro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_квадраты" id="{1F132F89-7D01-4948-913B-FB8413AB11CA}" vid="{7B3586F6-8E2E-4DFA-8498-C86B05E1EB64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_квадраты</Template>
  <TotalTime>5418</TotalTime>
  <Words>533</Words>
  <Application>Microsoft Office PowerPoint</Application>
  <PresentationFormat>Произвольный</PresentationFormat>
  <Paragraphs>87</Paragraphs>
  <Slides>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23" baseType="lpstr">
      <vt:lpstr>Arial</vt:lpstr>
      <vt:lpstr>Arial Black</vt:lpstr>
      <vt:lpstr>Bliss Pro ExtraLight</vt:lpstr>
      <vt:lpstr>Bliss Pro Light</vt:lpstr>
      <vt:lpstr>Calibri</vt:lpstr>
      <vt:lpstr>Cera CY</vt:lpstr>
      <vt:lpstr>DINPro-Medium</vt:lpstr>
      <vt:lpstr>Helvetica</vt:lpstr>
      <vt:lpstr>Lucida Grande</vt:lpstr>
      <vt:lpstr>Roboto Medium</vt:lpstr>
      <vt:lpstr>Stem Bold</vt:lpstr>
      <vt:lpstr>Stem Medium</vt:lpstr>
      <vt:lpstr>Stem Thin</vt:lpstr>
      <vt:lpstr>Tahoma</vt:lpstr>
      <vt:lpstr>Times New Roman</vt:lpstr>
      <vt:lpstr>Wingdings</vt:lpstr>
      <vt:lpstr>Тема_квадраты</vt:lpstr>
      <vt:lpstr>Слайд think-cell</vt:lpstr>
      <vt:lpstr>Презентация PowerPoint</vt:lpstr>
      <vt:lpstr>ЭТАПЫ РАЗВИТИЯ СОПРОВОЖДЕНИЯ ГОСУДАРСТВЕННЫХ КОНТРАКТОВ</vt:lpstr>
      <vt:lpstr>ЭТАПЫ ОТБОРА БАНКА</vt:lpstr>
      <vt:lpstr>ВАРИАНТЫ ОТБОРА БАНКА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PowerPoint</dc:title>
  <dc:creator>gpbu8442</dc:creator>
  <cp:lastModifiedBy>Остащенко Анастасия Андреевна</cp:lastModifiedBy>
  <cp:revision>345</cp:revision>
  <cp:lastPrinted>2022-08-03T14:48:22Z</cp:lastPrinted>
  <dcterms:modified xsi:type="dcterms:W3CDTF">2022-08-08T10:03:50Z</dcterms:modified>
</cp:coreProperties>
</file>